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75" r:id="rId4"/>
    <p:sldMasterId id="2147483702" r:id="rId5"/>
  </p:sldMasterIdLst>
  <p:notesMasterIdLst>
    <p:notesMasterId r:id="rId10"/>
  </p:notesMasterIdLst>
  <p:handoutMasterIdLst>
    <p:handoutMasterId r:id="rId11"/>
  </p:handoutMasterIdLst>
  <p:sldIdLst>
    <p:sldId id="2147483543" r:id="rId6"/>
    <p:sldId id="2147483575" r:id="rId7"/>
    <p:sldId id="2147483574" r:id="rId8"/>
    <p:sldId id="2147483576" r:id="rId9"/>
  </p:sldIdLst>
  <p:sldSz cx="12192000" cy="6858000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007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858" autoAdjust="0"/>
    <p:restoredTop sz="96201" autoAdjust="0"/>
  </p:normalViewPr>
  <p:slideViewPr>
    <p:cSldViewPr snapToObjects="1">
      <p:cViewPr varScale="1">
        <p:scale>
          <a:sx n="179" d="100"/>
          <a:sy n="179" d="100"/>
        </p:scale>
        <p:origin x="552" y="15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72" d="100"/>
          <a:sy n="72" d="100"/>
        </p:scale>
        <p:origin x="4092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CE2879F-85E3-496B-8667-A4EA32411BE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 bwMode="black">
          <a:xfrm>
            <a:off x="1614671" y="9262661"/>
            <a:ext cx="3568333" cy="39081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/>
            </a:lvl1pPr>
          </a:lstStyle>
          <a:p>
            <a:pPr algn="ctr"/>
            <a:r>
              <a:rPr lang="en-GB" sz="1100" dirty="0"/>
              <a:t>confidential, internal, open | Author | Presentation Topic | Dat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50349B1-E56A-42C1-B0A4-26B687F2FBA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 bwMode="black">
          <a:xfrm>
            <a:off x="6039404" y="9262661"/>
            <a:ext cx="285467" cy="39081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pPr algn="l"/>
            <a:fld id="{6F450DBC-90BB-49B2-91E4-AABCC1357725}" type="slidenum">
              <a:rPr lang="de-DE" sz="900" smtClean="0"/>
              <a:pPr algn="l"/>
              <a:t>‹Nr.›</a:t>
            </a:fld>
            <a:endParaRPr lang="de-DE" sz="90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4E2A2C4-9FAC-4DAF-8CF2-98D0ADF211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63456"/>
          <a:stretch/>
        </p:blipFill>
        <p:spPr bwMode="black">
          <a:xfrm>
            <a:off x="384820" y="9211948"/>
            <a:ext cx="682820" cy="492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3042720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pos="299" userDrawn="1">
          <p15:clr>
            <a:srgbClr val="F26B43"/>
          </p15:clr>
        </p15:guide>
        <p15:guide id="2" pos="3981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306388" y="976313"/>
            <a:ext cx="3830637" cy="21558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black">
          <a:xfrm>
            <a:off x="472804" y="3556395"/>
            <a:ext cx="5846516" cy="5129415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/>
              <a:t>Click to edit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  <a:p>
            <a:pPr lvl="8"/>
            <a:endParaRPr lang="en-GB"/>
          </a:p>
          <a:p>
            <a:pPr lvl="4"/>
            <a:endParaRPr lang="en-GB" dirty="0"/>
          </a:p>
        </p:txBody>
      </p:sp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95981BBF-A3AF-4657-B40E-0C891992F7E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 bwMode="black">
          <a:xfrm>
            <a:off x="1614671" y="9262256"/>
            <a:ext cx="3568333" cy="39081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/>
            </a:lvl1pPr>
          </a:lstStyle>
          <a:p>
            <a:pPr algn="ctr"/>
            <a:r>
              <a:rPr lang="en-GB" sz="1100" dirty="0"/>
              <a:t>confidential, internal, open | Author | Presentation Topic | Date</a:t>
            </a:r>
          </a:p>
        </p:txBody>
      </p:sp>
      <p:sp>
        <p:nvSpPr>
          <p:cNvPr id="8" name="Foliennummernplatzhalter 4">
            <a:extLst>
              <a:ext uri="{FF2B5EF4-FFF2-40B4-BE49-F238E27FC236}">
                <a16:creationId xmlns:a16="http://schemas.microsoft.com/office/drawing/2014/main" id="{C024CC59-CB8B-404F-82E2-4F59721F4C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black">
          <a:xfrm>
            <a:off x="6039404" y="9262256"/>
            <a:ext cx="285467" cy="39081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pPr algn="l"/>
            <a:fld id="{6F450DBC-90BB-49B2-91E4-AABCC1357725}" type="slidenum">
              <a:rPr lang="de-DE" sz="900" smtClean="0"/>
              <a:pPr algn="l"/>
              <a:t>‹Nr.›</a:t>
            </a:fld>
            <a:endParaRPr lang="de-DE" sz="90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EEB4B23-29CF-4DD3-A96B-2B9F09F547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63456"/>
          <a:stretch/>
        </p:blipFill>
        <p:spPr bwMode="black">
          <a:xfrm>
            <a:off x="384820" y="9211948"/>
            <a:ext cx="682820" cy="492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0354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900"/>
      </a:spcAft>
      <a:buClr>
        <a:schemeClr val="tx2"/>
      </a:buClr>
      <a:buFont typeface="+mj-lt" panose="05020102010507070707" pitchFamily="18" charset="2"/>
      <a:buNone/>
      <a:defRPr sz="1200" b="0" kern="1200">
        <a:solidFill>
          <a:schemeClr val="tx1"/>
        </a:solidFill>
        <a:latin typeface="+mj-lt"/>
        <a:ea typeface="+mn-ea"/>
        <a:cs typeface="+mn-cs"/>
      </a:defRPr>
    </a:lvl1pPr>
    <a:lvl2pPr marL="0" indent="0" algn="l" defTabSz="914400" rtl="0" eaLnBrk="1" latinLnBrk="0" hangingPunct="1">
      <a:spcAft>
        <a:spcPts val="600"/>
      </a:spcAft>
      <a:buClr>
        <a:schemeClr val="tx2"/>
      </a:buClr>
      <a:buFont typeface="+mj-lt" panose="05020102010507070707" pitchFamily="18" charset="2"/>
      <a:buNone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44000" indent="-144000" algn="l" defTabSz="914400" rtl="0" eaLnBrk="1" latinLnBrk="0" hangingPunct="1">
      <a:spcAft>
        <a:spcPts val="600"/>
      </a:spcAft>
      <a:buClr>
        <a:schemeClr val="tx2"/>
      </a:buClr>
      <a:buFont typeface="TeleNeo Office" panose="020B0504040202090203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288000" indent="-144000" algn="l" defTabSz="914400" rtl="0" eaLnBrk="1" latinLnBrk="0" hangingPunct="1">
      <a:spcAft>
        <a:spcPts val="600"/>
      </a:spcAft>
      <a:buClr>
        <a:schemeClr val="tx2"/>
      </a:buClr>
      <a:buFont typeface="TeleNeo Office" panose="020B0504040202090203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432000" indent="-144000" algn="l" defTabSz="914400" rtl="0" eaLnBrk="1" latinLnBrk="0" hangingPunct="1">
      <a:spcAft>
        <a:spcPts val="600"/>
      </a:spcAft>
      <a:buClr>
        <a:schemeClr val="tx2"/>
      </a:buClr>
      <a:buFont typeface="TeleNeo Office" panose="020B0504040202090203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Aft>
        <a:spcPts val="600"/>
      </a:spcAft>
      <a:buClr>
        <a:schemeClr val="tx2"/>
      </a:buClr>
      <a:buFont typeface="TeleNeo Office" panose="020B0504040202090203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720000" indent="-144000" algn="l" defTabSz="914400" rtl="0" eaLnBrk="1" latinLnBrk="0" hangingPunct="1">
      <a:spcAft>
        <a:spcPts val="600"/>
      </a:spcAft>
      <a:buClr>
        <a:schemeClr val="tx2"/>
      </a:buClr>
      <a:buFont typeface="TeleNeo Office" panose="020B0504040202090203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864000" indent="-144000" algn="l" defTabSz="914400" rtl="0" eaLnBrk="1" latinLnBrk="0" hangingPunct="1">
      <a:spcAft>
        <a:spcPts val="600"/>
      </a:spcAft>
      <a:buClr>
        <a:schemeClr val="tx2"/>
      </a:buClr>
      <a:buFont typeface="TeleNeo Office" panose="020B0504040202090203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1008000" indent="-144000" algn="l" defTabSz="914400" rtl="0" eaLnBrk="1" latinLnBrk="0" hangingPunct="1">
      <a:spcAft>
        <a:spcPts val="600"/>
      </a:spcAft>
      <a:buClr>
        <a:schemeClr val="tx2"/>
      </a:buClr>
      <a:buFont typeface="TeleNeo Office" panose="020B0504040202090203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/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D76C5E-D965-C37A-EFAA-5B8041E4B9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996000D-52CE-C53C-5B90-9F66F91AF33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B6AB2FF-DDC3-2715-D10D-044E5D2511C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A0AB54-8356-813F-5887-2DF53543842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16C60-26AB-4FBE-A4C9-9D071A073A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20415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8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long 01">
    <p:bg>
      <p:bgPr>
        <a:gradFill>
          <a:gsLst>
            <a:gs pos="0">
              <a:srgbClr val="002060">
                <a:lumMod val="75000"/>
              </a:srgbClr>
            </a:gs>
            <a:gs pos="100000">
              <a:schemeClr val="tx1"/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D0926A59-3663-4198-92E6-B934EF65801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1723" y="-11723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434300 w 12192000"/>
              <a:gd name="connsiteY3" fmla="*/ 6858000 h 6858000"/>
              <a:gd name="connsiteX4" fmla="*/ 7434300 w 12192000"/>
              <a:gd name="connsiteY4" fmla="*/ 3606644 h 6858000"/>
              <a:gd name="connsiteX5" fmla="*/ 6773352 w 12192000"/>
              <a:gd name="connsiteY5" fmla="*/ 2944524 h 6858000"/>
              <a:gd name="connsiteX6" fmla="*/ 3978934 w 12192000"/>
              <a:gd name="connsiteY6" fmla="*/ 2944524 h 6858000"/>
              <a:gd name="connsiteX7" fmla="*/ 3317987 w 12192000"/>
              <a:gd name="connsiteY7" fmla="*/ 2282405 h 6858000"/>
              <a:gd name="connsiteX8" fmla="*/ 3317987 w 12192000"/>
              <a:gd name="connsiteY8" fmla="*/ 2147119 h 6858000"/>
              <a:gd name="connsiteX9" fmla="*/ 2657041 w 12192000"/>
              <a:gd name="connsiteY9" fmla="*/ 1485000 h 6858000"/>
              <a:gd name="connsiteX10" fmla="*/ 1289697 w 12192000"/>
              <a:gd name="connsiteY10" fmla="*/ 1485000 h 6858000"/>
              <a:gd name="connsiteX11" fmla="*/ 628750 w 12192000"/>
              <a:gd name="connsiteY11" fmla="*/ 2147119 h 6858000"/>
              <a:gd name="connsiteX12" fmla="*/ 628750 w 12192000"/>
              <a:gd name="connsiteY12" fmla="*/ 5399178 h 6858000"/>
              <a:gd name="connsiteX13" fmla="*/ 100965 w 12192000"/>
              <a:gd name="connsiteY13" fmla="*/ 6047839 h 6858000"/>
              <a:gd name="connsiteX14" fmla="*/ 0 w 12192000"/>
              <a:gd name="connsiteY14" fmla="*/ 605804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434300" y="6858000"/>
                </a:lnTo>
                <a:lnTo>
                  <a:pt x="7434300" y="3606644"/>
                </a:lnTo>
                <a:cubicBezTo>
                  <a:pt x="7434300" y="3241112"/>
                  <a:pt x="7138236" y="2944524"/>
                  <a:pt x="6773352" y="2944524"/>
                </a:cubicBezTo>
                <a:lnTo>
                  <a:pt x="3978934" y="2944524"/>
                </a:lnTo>
                <a:cubicBezTo>
                  <a:pt x="3614051" y="2944524"/>
                  <a:pt x="3317987" y="2647936"/>
                  <a:pt x="3317987" y="2282405"/>
                </a:cubicBezTo>
                <a:lnTo>
                  <a:pt x="3317987" y="2147119"/>
                </a:lnTo>
                <a:cubicBezTo>
                  <a:pt x="3317987" y="1781588"/>
                  <a:pt x="3021925" y="1485000"/>
                  <a:pt x="2657041" y="1485000"/>
                </a:cubicBezTo>
                <a:lnTo>
                  <a:pt x="1289697" y="1485000"/>
                </a:lnTo>
                <a:cubicBezTo>
                  <a:pt x="924814" y="1485000"/>
                  <a:pt x="628750" y="1781588"/>
                  <a:pt x="628750" y="2147119"/>
                </a:cubicBezTo>
                <a:lnTo>
                  <a:pt x="628750" y="5399178"/>
                </a:lnTo>
                <a:cubicBezTo>
                  <a:pt x="628750" y="5719018"/>
                  <a:pt x="402077" y="5986073"/>
                  <a:pt x="100965" y="6047839"/>
                </a:cubicBezTo>
                <a:lnTo>
                  <a:pt x="0" y="6058043"/>
                </a:lnTo>
                <a:close/>
              </a:path>
            </a:pathLst>
          </a:custGeom>
          <a:solidFill>
            <a:srgbClr val="E20074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US" dirty="0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5DB660-BEA6-4B99-9720-1536CF7D2DA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127448" y="3284984"/>
            <a:ext cx="4608000" cy="1637206"/>
          </a:xfrm>
        </p:spPr>
        <p:txBody>
          <a:bodyPr lIns="0" bIns="0" anchor="b"/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of presentatio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4891937-CC24-41A9-9EB6-06AEE112B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127448" y="5085240"/>
            <a:ext cx="4608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Subtitle | Author | Place | Date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4922ADEE-68C4-47F5-9D70-00C73215EFE0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1127448" y="1992667"/>
            <a:ext cx="544302" cy="6480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34B1E24-9EBF-4DFC-92E0-9F5B834E178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82614" y="457200"/>
            <a:ext cx="4465084" cy="1877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22700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07BA7844-79FB-4134-9E27-FC31F6528B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line short 40pt (2 lines 24pt/space 1)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80907AE-8864-4AC0-A879-AAABC79A06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03CFAB5-4403-4D0D-B11A-024BAA76D3C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3" name="Picture 2" descr="Icon&#10;&#10;Description automatically generated">
            <a:extLst>
              <a:ext uri="{FF2B5EF4-FFF2-40B4-BE49-F238E27FC236}">
                <a16:creationId xmlns:a16="http://schemas.microsoft.com/office/drawing/2014/main" id="{4874A8D7-FA8D-49C2-9EF5-A6B3C6BF358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4724400" y="1494692"/>
            <a:ext cx="7334326" cy="4010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83491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07BA7844-79FB-4134-9E27-FC31F6528B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line short 40pt (2 lines 24pt/space 1)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80907AE-8864-4AC0-A879-AAABC79A06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03CFAB5-4403-4D0D-B11A-024BAA76D3C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FC928BD7-9D96-4266-833C-526D252C6F5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479376" y="1524000"/>
            <a:ext cx="7334326" cy="4010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81386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3946887-58C2-463F-973E-3197B8AC646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C005D7A-85A8-4046-8C54-F843A7C2C3A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B8FE1968-7DA3-4E03-BC5C-AEC757D36E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2428837" y="1524000"/>
            <a:ext cx="7334326" cy="4010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53332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3E96A5-93EA-451A-88A2-0C4325907D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Headline short 40pt (2 lines 24pt/space 1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5D6AE95-30E2-4E14-9028-628793137D1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376" y="1484313"/>
            <a:ext cx="5472000" cy="476467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20BABE80-E0D1-46E7-8B60-730D1088E23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6240624" y="1483726"/>
            <a:ext cx="5472000" cy="476467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ACCDACF-6717-47AC-AFF3-BD55D223381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08834F5-8BD1-47C8-92D0-13895D50405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1020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CF5EE6-FFD8-44FD-9C80-95B68F34D2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Headline short 40pt (2 lines 24pt/space 1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422070A-7303-4B7F-93D4-191685839B5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376" y="1484313"/>
            <a:ext cx="3528000" cy="476408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7D9598B6-CEA7-42C6-8376-9C8FFAD9B4C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4295800" y="1484313"/>
            <a:ext cx="3600000" cy="476408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508F3AD6-ECB1-46C4-8C4D-7E86183245A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8184624" y="1484313"/>
            <a:ext cx="3528000" cy="476408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3A285C3-C25F-44EA-AA94-B352A32E663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DF697A7-E7AF-430A-9251-E1177E3F009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99287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BE4F56-CAAF-476E-A2B9-F1A0D25C8BAC}"/>
              </a:ext>
            </a:extLst>
          </p:cNvPr>
          <p:cNvSpPr>
            <a:spLocks noGrp="1"/>
          </p:cNvSpPr>
          <p:nvPr>
            <p:ph type="title" sz="quarter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Headline short 40pt (2 lines 24pt/space 1)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4B6057D-AA55-47BF-A331-2E2648C311B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376" y="1484313"/>
            <a:ext cx="2592000" cy="4764087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D73B4FC-B74D-4CE7-B959-B58A486BFB4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3359984" y="1484313"/>
            <a:ext cx="2592000" cy="4764087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5C02444F-BCE5-47EE-A8CF-C44F258655A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6240016" y="1484313"/>
            <a:ext cx="2592000" cy="4764087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747D8B36-797B-4379-B1D3-EFD569BF81E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 bwMode="gray">
          <a:xfrm>
            <a:off x="9120624" y="1484313"/>
            <a:ext cx="2592000" cy="4764087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B4F69BE-3497-4715-B2D5-A46E84AD478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A769A84-C986-456D-93E3-D7BB9816118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305327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390C6A2-43FF-4452-B80E-84686F69C3A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376" y="1484588"/>
            <a:ext cx="3528000" cy="47638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FEDF5FD-17AD-45A2-BFE4-CB2E27106D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line short 40pt (2 lines 24pt/space 1)</a:t>
            </a:r>
          </a:p>
        </p:txBody>
      </p:sp>
      <p:sp>
        <p:nvSpPr>
          <p:cNvPr id="8" name="Freeform: Shape 11">
            <a:extLst>
              <a:ext uri="{FF2B5EF4-FFF2-40B4-BE49-F238E27FC236}">
                <a16:creationId xmlns:a16="http://schemas.microsoft.com/office/drawing/2014/main" id="{1CAC558B-6BCB-4C10-847A-4ADA1E567F69}"/>
              </a:ext>
            </a:extLst>
          </p:cNvPr>
          <p:cNvSpPr/>
          <p:nvPr userDrawn="1"/>
        </p:nvSpPr>
        <p:spPr bwMode="gray">
          <a:xfrm>
            <a:off x="4295800" y="1484999"/>
            <a:ext cx="7896200" cy="4257860"/>
          </a:xfrm>
          <a:custGeom>
            <a:avLst/>
            <a:gdLst>
              <a:gd name="connsiteX0" fmla="*/ 442664 w 7896200"/>
              <a:gd name="connsiteY0" fmla="*/ 0 h 4257860"/>
              <a:gd name="connsiteX1" fmla="*/ 7560840 w 7896200"/>
              <a:gd name="connsiteY1" fmla="*/ 0 h 4257860"/>
              <a:gd name="connsiteX2" fmla="*/ 7821980 w 7896200"/>
              <a:gd name="connsiteY2" fmla="*/ 0 h 4257860"/>
              <a:gd name="connsiteX3" fmla="*/ 7896200 w 7896200"/>
              <a:gd name="connsiteY3" fmla="*/ 0 h 4257860"/>
              <a:gd name="connsiteX4" fmla="*/ 7896200 w 7896200"/>
              <a:gd name="connsiteY4" fmla="*/ 4257860 h 4257860"/>
              <a:gd name="connsiteX5" fmla="*/ 7821980 w 7896200"/>
              <a:gd name="connsiteY5" fmla="*/ 4257860 h 4257860"/>
              <a:gd name="connsiteX6" fmla="*/ 7560840 w 7896200"/>
              <a:gd name="connsiteY6" fmla="*/ 4257860 h 4257860"/>
              <a:gd name="connsiteX7" fmla="*/ 442664 w 7896200"/>
              <a:gd name="connsiteY7" fmla="*/ 4257860 h 4257860"/>
              <a:gd name="connsiteX8" fmla="*/ 0 w 7896200"/>
              <a:gd name="connsiteY8" fmla="*/ 3814543 h 4257860"/>
              <a:gd name="connsiteX9" fmla="*/ 0 w 7896200"/>
              <a:gd name="connsiteY9" fmla="*/ 443317 h 4257860"/>
              <a:gd name="connsiteX10" fmla="*/ 442664 w 7896200"/>
              <a:gd name="connsiteY10" fmla="*/ 0 h 4257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896200" h="4257860">
                <a:moveTo>
                  <a:pt x="442664" y="0"/>
                </a:moveTo>
                <a:lnTo>
                  <a:pt x="7560840" y="0"/>
                </a:lnTo>
                <a:lnTo>
                  <a:pt x="7821980" y="0"/>
                </a:lnTo>
                <a:lnTo>
                  <a:pt x="7896200" y="0"/>
                </a:lnTo>
                <a:lnTo>
                  <a:pt x="7896200" y="4257860"/>
                </a:lnTo>
                <a:lnTo>
                  <a:pt x="7821980" y="4257860"/>
                </a:lnTo>
                <a:lnTo>
                  <a:pt x="7560840" y="4257860"/>
                </a:lnTo>
                <a:lnTo>
                  <a:pt x="442664" y="4257860"/>
                </a:lnTo>
                <a:cubicBezTo>
                  <a:pt x="196451" y="4257860"/>
                  <a:pt x="0" y="4057831"/>
                  <a:pt x="0" y="3814543"/>
                </a:cubicBezTo>
                <a:lnTo>
                  <a:pt x="0" y="443317"/>
                </a:lnTo>
                <a:cubicBezTo>
                  <a:pt x="0" y="196777"/>
                  <a:pt x="199378" y="0"/>
                  <a:pt x="442664" y="0"/>
                </a:cubicBezTo>
                <a:close/>
              </a:path>
            </a:pathLst>
          </a:cu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0E3BC7C-32C8-437B-8F9B-716FE52AD57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46F6437-1F47-4408-837D-4CA69A8278F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32150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8F2A4CF4-F40B-4E8A-9194-82C4992C3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29376" y="2925000"/>
            <a:ext cx="7742624" cy="2448000"/>
          </a:xfrm>
        </p:spPr>
        <p:txBody>
          <a:bodyPr anchor="ctr">
            <a:noAutofit/>
          </a:bodyPr>
          <a:lstStyle>
            <a:lvl1pPr marL="0" indent="0">
              <a:lnSpc>
                <a:spcPct val="80000"/>
              </a:lnSpc>
              <a:buFont typeface="+mn-lt" panose="020B0604020202020204" pitchFamily="34" charset="0"/>
              <a:buNone/>
              <a:defRPr sz="4000">
                <a:solidFill>
                  <a:schemeClr val="bg1"/>
                </a:solidFill>
                <a:latin typeface="+mj-lt"/>
              </a:defRPr>
            </a:lvl1pPr>
            <a:lvl2pPr marL="0" indent="0" algn="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Font typeface="+mn-lt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</a:defRPr>
            </a:lvl2pPr>
            <a:lvl3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4pPr>
            <a:lvl5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5pPr>
            <a:lvl6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6pPr>
            <a:lvl7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7pPr>
            <a:lvl8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8pPr>
            <a:lvl9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“Click to insert a powerful quote, multi-lined possible”</a:t>
            </a:r>
          </a:p>
          <a:p>
            <a:pPr lvl="1"/>
            <a:r>
              <a:rPr lang="en-US" dirty="0"/>
              <a:t>– Author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582E544-7C5C-421B-817A-832EDFE06FB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5951984" cy="6858000"/>
          </a:xfrm>
          <a:custGeom>
            <a:avLst/>
            <a:gdLst>
              <a:gd name="connsiteX0" fmla="*/ 0 w 5951984"/>
              <a:gd name="connsiteY0" fmla="*/ 0 h 6858000"/>
              <a:gd name="connsiteX1" fmla="*/ 5951984 w 5951984"/>
              <a:gd name="connsiteY1" fmla="*/ 0 h 6858000"/>
              <a:gd name="connsiteX2" fmla="*/ 5951984 w 5951984"/>
              <a:gd name="connsiteY2" fmla="*/ 808991 h 6858000"/>
              <a:gd name="connsiteX3" fmla="*/ 5293418 w 5951984"/>
              <a:gd name="connsiteY3" fmla="*/ 1482091 h 6858000"/>
              <a:gd name="connsiteX4" fmla="*/ 1286265 w 5951984"/>
              <a:gd name="connsiteY4" fmla="*/ 1482091 h 6858000"/>
              <a:gd name="connsiteX5" fmla="*/ 1141152 w 5951984"/>
              <a:gd name="connsiteY5" fmla="*/ 1482091 h 6858000"/>
              <a:gd name="connsiteX6" fmla="*/ 482587 w 5951984"/>
              <a:gd name="connsiteY6" fmla="*/ 2155191 h 6858000"/>
              <a:gd name="connsiteX7" fmla="*/ 482587 w 5951984"/>
              <a:gd name="connsiteY7" fmla="*/ 6858000 h 6858000"/>
              <a:gd name="connsiteX8" fmla="*/ 0 w 5951984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51984" h="6858000">
                <a:moveTo>
                  <a:pt x="0" y="0"/>
                </a:moveTo>
                <a:lnTo>
                  <a:pt x="5951984" y="0"/>
                </a:lnTo>
                <a:lnTo>
                  <a:pt x="5951984" y="808991"/>
                </a:lnTo>
                <a:cubicBezTo>
                  <a:pt x="5951984" y="1181100"/>
                  <a:pt x="5657028" y="1482091"/>
                  <a:pt x="5293418" y="1482091"/>
                </a:cubicBezTo>
                <a:lnTo>
                  <a:pt x="1286265" y="1482091"/>
                </a:lnTo>
                <a:lnTo>
                  <a:pt x="1141152" y="1482091"/>
                </a:lnTo>
                <a:cubicBezTo>
                  <a:pt x="777543" y="1482091"/>
                  <a:pt x="482587" y="1783080"/>
                  <a:pt x="482587" y="2155191"/>
                </a:cubicBezTo>
                <a:lnTo>
                  <a:pt x="482587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002060">
                  <a:lumMod val="72000"/>
                </a:srgbClr>
              </a:gs>
              <a:gs pos="100000">
                <a:schemeClr val="tx1"/>
              </a:gs>
            </a:gsLst>
            <a:path path="circle">
              <a:fillToRect l="100000" t="100000"/>
            </a:path>
          </a:gradFill>
        </p:spPr>
        <p:txBody>
          <a:bodyPr wrap="square" bIns="576000" anchor="ctr">
            <a:noAutofit/>
          </a:bodyPr>
          <a:lstStyle>
            <a:lvl1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1pPr>
            <a:lvl2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2pPr>
            <a:lvl3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4pPr>
            <a:lvl5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5pPr>
            <a:lvl6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6pPr>
            <a:lvl7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7pPr>
            <a:lvl8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8pPr>
            <a:lvl9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pPr marL="0" marR="0" lvl="4" indent="0" algn="ctr" defTabSz="179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+mn-lt" panose="020B0604020202020204" pitchFamily="34" charset="0"/>
              <a:buNone/>
              <a:tabLst/>
              <a:defRPr/>
            </a:pPr>
            <a:r>
              <a:rPr lang="en-US" dirty="0"/>
              <a:t>White background or add </a:t>
            </a:r>
            <a:br>
              <a:rPr lang="en-US" dirty="0"/>
            </a:br>
            <a:r>
              <a:rPr lang="en-US" dirty="0"/>
              <a:t>gradient as a pictu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465D524-66A1-498B-96FF-48EE4461F2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41295" b="24170"/>
          <a:stretch/>
        </p:blipFill>
        <p:spPr>
          <a:xfrm>
            <a:off x="10272000" y="5710116"/>
            <a:ext cx="1271593" cy="690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3595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8C1C1B3-2B43-47F5-9FA0-80C6D4477A0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240016" y="1484313"/>
            <a:ext cx="5953200" cy="4764087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>
                <a:tab pos="2687638" algn="l"/>
              </a:tabLst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en-US" dirty="0"/>
              <a:t>Add pictur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B4C7612-0C84-4376-B998-B34EAE1F544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479376" y="1484313"/>
            <a:ext cx="5472000" cy="4764087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666DA3C-926F-4EC4-9514-427BC43B16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line short 40pt (2 lines 24pt/space 1)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DFFEC28-8502-4C97-9901-B0E5187A79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346FF63-32DD-4F94-A3B9-DEE1354F0F2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82060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902E79-B5C3-4A51-9C68-88010755DD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Headline short 40pt (2 lines 24pt/space 1)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CD48E90-58F3-40B4-B97C-453785FBBAB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8184624" y="1484313"/>
            <a:ext cx="3528000" cy="4764087"/>
          </a:xfrm>
        </p:spPr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40AE5EC-538A-4BF1-ABC1-3EE1CF9C15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79376" y="1485312"/>
            <a:ext cx="7416000" cy="4764087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lvl="4"/>
            <a:r>
              <a:rPr lang="en-US" dirty="0"/>
              <a:t>Add pictur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4D320FC-1745-4ABC-85D6-471E8EC829C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501084-378C-41A0-8852-DE0E44E8B61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0568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long 02">
    <p:bg>
      <p:bgPr>
        <a:gradFill>
          <a:gsLst>
            <a:gs pos="0">
              <a:srgbClr val="002060">
                <a:lumMod val="75000"/>
              </a:srgbClr>
            </a:gs>
            <a:gs pos="100000">
              <a:schemeClr val="tx1"/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48E673EF-7D81-46BF-B450-0CBD30E9B8B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546112 w 12192000"/>
              <a:gd name="connsiteY7" fmla="*/ 4509000 h 6858000"/>
              <a:gd name="connsiteX8" fmla="*/ 1691816 w 12192000"/>
              <a:gd name="connsiteY8" fmla="*/ 4509000 h 6858000"/>
              <a:gd name="connsiteX9" fmla="*/ 1699674 w 12192000"/>
              <a:gd name="connsiteY9" fmla="*/ 4509000 h 6858000"/>
              <a:gd name="connsiteX10" fmla="*/ 1861287 w 12192000"/>
              <a:gd name="connsiteY10" fmla="*/ 4509000 h 6858000"/>
              <a:gd name="connsiteX11" fmla="*/ 1869932 w 12192000"/>
              <a:gd name="connsiteY11" fmla="*/ 4509000 h 6858000"/>
              <a:gd name="connsiteX12" fmla="*/ 2227928 w 12192000"/>
              <a:gd name="connsiteY12" fmla="*/ 4509000 h 6858000"/>
              <a:gd name="connsiteX13" fmla="*/ 2238276 w 12192000"/>
              <a:gd name="connsiteY13" fmla="*/ 4509000 h 6858000"/>
              <a:gd name="connsiteX14" fmla="*/ 2594568 w 12192000"/>
              <a:gd name="connsiteY14" fmla="*/ 4509000 h 6858000"/>
              <a:gd name="connsiteX15" fmla="*/ 2606619 w 12192000"/>
              <a:gd name="connsiteY15" fmla="*/ 4509000 h 6858000"/>
              <a:gd name="connsiteX16" fmla="*/ 2764039 w 12192000"/>
              <a:gd name="connsiteY16" fmla="*/ 4509000 h 6858000"/>
              <a:gd name="connsiteX17" fmla="*/ 2776877 w 12192000"/>
              <a:gd name="connsiteY17" fmla="*/ 4509000 h 6858000"/>
              <a:gd name="connsiteX18" fmla="*/ 2916890 w 12192000"/>
              <a:gd name="connsiteY18" fmla="*/ 4509000 h 6858000"/>
              <a:gd name="connsiteX19" fmla="*/ 2930438 w 12192000"/>
              <a:gd name="connsiteY19" fmla="*/ 4509000 h 6858000"/>
              <a:gd name="connsiteX20" fmla="*/ 6257159 w 12192000"/>
              <a:gd name="connsiteY20" fmla="*/ 4509000 h 6858000"/>
              <a:gd name="connsiteX21" fmla="*/ 6286220 w 12192000"/>
              <a:gd name="connsiteY21" fmla="*/ 4509000 h 6858000"/>
              <a:gd name="connsiteX22" fmla="*/ 6979034 w 12192000"/>
              <a:gd name="connsiteY22" fmla="*/ 3819388 h 6858000"/>
              <a:gd name="connsiteX23" fmla="*/ 6979034 w 12192000"/>
              <a:gd name="connsiteY23" fmla="*/ 3140165 h 6858000"/>
              <a:gd name="connsiteX24" fmla="*/ 7671849 w 12192000"/>
              <a:gd name="connsiteY24" fmla="*/ 2450553 h 6858000"/>
              <a:gd name="connsiteX25" fmla="*/ 8029891 w 12192000"/>
              <a:gd name="connsiteY25" fmla="*/ 2450553 h 6858000"/>
              <a:gd name="connsiteX26" fmla="*/ 8067185 w 12192000"/>
              <a:gd name="connsiteY26" fmla="*/ 2450553 h 6858000"/>
              <a:gd name="connsiteX27" fmla="*/ 8759999 w 12192000"/>
              <a:gd name="connsiteY27" fmla="*/ 176094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2192000" h="6858000">
                <a:moveTo>
                  <a:pt x="8759999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509000"/>
                </a:lnTo>
                <a:lnTo>
                  <a:pt x="1" y="4509000"/>
                </a:lnTo>
                <a:lnTo>
                  <a:pt x="1538964" y="4509000"/>
                </a:lnTo>
                <a:lnTo>
                  <a:pt x="1546112" y="4509000"/>
                </a:lnTo>
                <a:lnTo>
                  <a:pt x="1691816" y="4509000"/>
                </a:lnTo>
                <a:lnTo>
                  <a:pt x="1699674" y="4509000"/>
                </a:lnTo>
                <a:lnTo>
                  <a:pt x="1861287" y="4509000"/>
                </a:lnTo>
                <a:lnTo>
                  <a:pt x="1869932" y="4509000"/>
                </a:lnTo>
                <a:lnTo>
                  <a:pt x="2227928" y="4509000"/>
                </a:lnTo>
                <a:lnTo>
                  <a:pt x="2238276" y="4509000"/>
                </a:lnTo>
                <a:lnTo>
                  <a:pt x="2594568" y="4509000"/>
                </a:lnTo>
                <a:lnTo>
                  <a:pt x="2606619" y="4509000"/>
                </a:lnTo>
                <a:lnTo>
                  <a:pt x="2764039" y="4509000"/>
                </a:lnTo>
                <a:lnTo>
                  <a:pt x="2776877" y="4509000"/>
                </a:lnTo>
                <a:lnTo>
                  <a:pt x="2916890" y="4509000"/>
                </a:lnTo>
                <a:lnTo>
                  <a:pt x="2930438" y="4509000"/>
                </a:lnTo>
                <a:lnTo>
                  <a:pt x="6257159" y="4509000"/>
                </a:lnTo>
                <a:lnTo>
                  <a:pt x="6286220" y="4509000"/>
                </a:lnTo>
                <a:cubicBezTo>
                  <a:pt x="6669812" y="4509000"/>
                  <a:pt x="6979034" y="4199908"/>
                  <a:pt x="6979034" y="3819388"/>
                </a:cubicBezTo>
                <a:lnTo>
                  <a:pt x="6979034" y="3140165"/>
                </a:lnTo>
                <a:cubicBezTo>
                  <a:pt x="6979034" y="2758346"/>
                  <a:pt x="7289562" y="2450553"/>
                  <a:pt x="7671849" y="2450553"/>
                </a:cubicBezTo>
                <a:lnTo>
                  <a:pt x="8029891" y="2450553"/>
                </a:lnTo>
                <a:lnTo>
                  <a:pt x="8067185" y="2450553"/>
                </a:lnTo>
                <a:cubicBezTo>
                  <a:pt x="8450777" y="2450553"/>
                  <a:pt x="8759999" y="2141461"/>
                  <a:pt x="8759999" y="1760941"/>
                </a:cubicBezTo>
                <a:close/>
              </a:path>
            </a:pathLst>
          </a:custGeom>
          <a:solidFill>
            <a:srgbClr val="E20074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55CF3A-8745-495B-9FFE-CE92A5F4D68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79376" y="1700808"/>
            <a:ext cx="5760000" cy="1655968"/>
          </a:xfrm>
        </p:spPr>
        <p:txBody>
          <a:bodyPr lIns="0" anchor="b"/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of presentatio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931B0A1-8DE4-4F87-9296-AE72B35697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3536776"/>
            <a:ext cx="5472000" cy="504000"/>
          </a:xfrm>
        </p:spPr>
        <p:txBody>
          <a:bodyPr lIns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US" dirty="0"/>
              <a:t>Subtitle | Author | Place | Date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27941A39-F637-41A7-A058-9319063D2141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479425" y="476250"/>
            <a:ext cx="544302" cy="6480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F5FE99A-7279-4D26-B953-DE2D23434E3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315200" y="4267200"/>
            <a:ext cx="4465084" cy="1877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803276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lang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5DB660-BEA6-4B99-9720-1536CF7D2DA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1198800" y="3481950"/>
            <a:ext cx="5544000" cy="1224000"/>
          </a:xfrm>
        </p:spPr>
        <p:txBody>
          <a:bodyPr lIns="0" bIns="0" anchor="b"/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4891937-CC24-41A9-9EB6-06AEE112B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198800" y="4869000"/>
            <a:ext cx="5544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r>
              <a:rPr lang="en-US"/>
              <a:t>Untertitel | Autor*in | Ort | Datum</a:t>
            </a:r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D0926A59-3663-4198-92E6-B934EF65801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434300 w 12192000"/>
              <a:gd name="connsiteY3" fmla="*/ 6858000 h 6858000"/>
              <a:gd name="connsiteX4" fmla="*/ 7434300 w 12192000"/>
              <a:gd name="connsiteY4" fmla="*/ 3606644 h 6858000"/>
              <a:gd name="connsiteX5" fmla="*/ 6773352 w 12192000"/>
              <a:gd name="connsiteY5" fmla="*/ 2944524 h 6858000"/>
              <a:gd name="connsiteX6" fmla="*/ 3978934 w 12192000"/>
              <a:gd name="connsiteY6" fmla="*/ 2944524 h 6858000"/>
              <a:gd name="connsiteX7" fmla="*/ 3317987 w 12192000"/>
              <a:gd name="connsiteY7" fmla="*/ 2282405 h 6858000"/>
              <a:gd name="connsiteX8" fmla="*/ 3317987 w 12192000"/>
              <a:gd name="connsiteY8" fmla="*/ 2147119 h 6858000"/>
              <a:gd name="connsiteX9" fmla="*/ 2657041 w 12192000"/>
              <a:gd name="connsiteY9" fmla="*/ 1485000 h 6858000"/>
              <a:gd name="connsiteX10" fmla="*/ 1289697 w 12192000"/>
              <a:gd name="connsiteY10" fmla="*/ 1485000 h 6858000"/>
              <a:gd name="connsiteX11" fmla="*/ 628750 w 12192000"/>
              <a:gd name="connsiteY11" fmla="*/ 2147119 h 6858000"/>
              <a:gd name="connsiteX12" fmla="*/ 628750 w 12192000"/>
              <a:gd name="connsiteY12" fmla="*/ 5399178 h 6858000"/>
              <a:gd name="connsiteX13" fmla="*/ 100965 w 12192000"/>
              <a:gd name="connsiteY13" fmla="*/ 6047839 h 6858000"/>
              <a:gd name="connsiteX14" fmla="*/ 0 w 12192000"/>
              <a:gd name="connsiteY14" fmla="*/ 605804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434300" y="6858000"/>
                </a:lnTo>
                <a:lnTo>
                  <a:pt x="7434300" y="3606644"/>
                </a:lnTo>
                <a:cubicBezTo>
                  <a:pt x="7434300" y="3241112"/>
                  <a:pt x="7138236" y="2944524"/>
                  <a:pt x="6773352" y="2944524"/>
                </a:cubicBezTo>
                <a:lnTo>
                  <a:pt x="3978934" y="2944524"/>
                </a:lnTo>
                <a:cubicBezTo>
                  <a:pt x="3614051" y="2944524"/>
                  <a:pt x="3317987" y="2647936"/>
                  <a:pt x="3317987" y="2282405"/>
                </a:cubicBezTo>
                <a:lnTo>
                  <a:pt x="3317987" y="2147119"/>
                </a:lnTo>
                <a:cubicBezTo>
                  <a:pt x="3317987" y="1781588"/>
                  <a:pt x="3021925" y="1485000"/>
                  <a:pt x="2657041" y="1485000"/>
                </a:cubicBezTo>
                <a:lnTo>
                  <a:pt x="1289697" y="1485000"/>
                </a:lnTo>
                <a:cubicBezTo>
                  <a:pt x="924814" y="1485000"/>
                  <a:pt x="628750" y="1781588"/>
                  <a:pt x="628750" y="2147119"/>
                </a:cubicBezTo>
                <a:lnTo>
                  <a:pt x="628750" y="5399178"/>
                </a:lnTo>
                <a:cubicBezTo>
                  <a:pt x="628750" y="5719018"/>
                  <a:pt x="402077" y="5986073"/>
                  <a:pt x="100965" y="6047839"/>
                </a:cubicBezTo>
                <a:lnTo>
                  <a:pt x="0" y="605804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US"/>
              <a:t>Bild einfüg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5972AD4D-3DDC-4B84-8B98-D4E341A8D20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28666" y="5565367"/>
            <a:ext cx="3493510" cy="840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37617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lang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55CF3A-8745-495B-9FFE-CE92A5F4D68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624000" y="477000"/>
            <a:ext cx="6336000" cy="1944000"/>
          </a:xfrm>
        </p:spPr>
        <p:txBody>
          <a:bodyPr lIns="0" anchor="b"/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931B0A1-8DE4-4F87-9296-AE72B35697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624000" y="2601000"/>
            <a:ext cx="5472000" cy="504000"/>
          </a:xfrm>
        </p:spPr>
        <p:txBody>
          <a:bodyPr lIns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US"/>
              <a:t>Untertitel | Autor*in | Ort | Datum</a:t>
            </a:r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48E673EF-7D81-46BF-B450-0CBD30E9B8B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custGeom>
            <a:avLst/>
            <a:gdLst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546112 w 12192000"/>
              <a:gd name="connsiteY7" fmla="*/ 4509000 h 6858000"/>
              <a:gd name="connsiteX8" fmla="*/ 1691816 w 12192000"/>
              <a:gd name="connsiteY8" fmla="*/ 4509000 h 6858000"/>
              <a:gd name="connsiteX9" fmla="*/ 1699674 w 12192000"/>
              <a:gd name="connsiteY9" fmla="*/ 4509000 h 6858000"/>
              <a:gd name="connsiteX10" fmla="*/ 1861287 w 12192000"/>
              <a:gd name="connsiteY10" fmla="*/ 4509000 h 6858000"/>
              <a:gd name="connsiteX11" fmla="*/ 1869932 w 12192000"/>
              <a:gd name="connsiteY11" fmla="*/ 4509000 h 6858000"/>
              <a:gd name="connsiteX12" fmla="*/ 2227928 w 12192000"/>
              <a:gd name="connsiteY12" fmla="*/ 4509000 h 6858000"/>
              <a:gd name="connsiteX13" fmla="*/ 2238276 w 12192000"/>
              <a:gd name="connsiteY13" fmla="*/ 4509000 h 6858000"/>
              <a:gd name="connsiteX14" fmla="*/ 2594568 w 12192000"/>
              <a:gd name="connsiteY14" fmla="*/ 4509000 h 6858000"/>
              <a:gd name="connsiteX15" fmla="*/ 2606619 w 12192000"/>
              <a:gd name="connsiteY15" fmla="*/ 4509000 h 6858000"/>
              <a:gd name="connsiteX16" fmla="*/ 2764039 w 12192000"/>
              <a:gd name="connsiteY16" fmla="*/ 4509000 h 6858000"/>
              <a:gd name="connsiteX17" fmla="*/ 2776877 w 12192000"/>
              <a:gd name="connsiteY17" fmla="*/ 4509000 h 6858000"/>
              <a:gd name="connsiteX18" fmla="*/ 2916890 w 12192000"/>
              <a:gd name="connsiteY18" fmla="*/ 4509000 h 6858000"/>
              <a:gd name="connsiteX19" fmla="*/ 2930438 w 12192000"/>
              <a:gd name="connsiteY19" fmla="*/ 4509000 h 6858000"/>
              <a:gd name="connsiteX20" fmla="*/ 6257159 w 12192000"/>
              <a:gd name="connsiteY20" fmla="*/ 4509000 h 6858000"/>
              <a:gd name="connsiteX21" fmla="*/ 6286220 w 12192000"/>
              <a:gd name="connsiteY21" fmla="*/ 4509000 h 6858000"/>
              <a:gd name="connsiteX22" fmla="*/ 6979034 w 12192000"/>
              <a:gd name="connsiteY22" fmla="*/ 3819388 h 6858000"/>
              <a:gd name="connsiteX23" fmla="*/ 6979034 w 12192000"/>
              <a:gd name="connsiteY23" fmla="*/ 3140165 h 6858000"/>
              <a:gd name="connsiteX24" fmla="*/ 7671849 w 12192000"/>
              <a:gd name="connsiteY24" fmla="*/ 2450553 h 6858000"/>
              <a:gd name="connsiteX25" fmla="*/ 8029891 w 12192000"/>
              <a:gd name="connsiteY25" fmla="*/ 2450553 h 6858000"/>
              <a:gd name="connsiteX26" fmla="*/ 8067185 w 12192000"/>
              <a:gd name="connsiteY26" fmla="*/ 2450553 h 6858000"/>
              <a:gd name="connsiteX27" fmla="*/ 8759999 w 12192000"/>
              <a:gd name="connsiteY27" fmla="*/ 176094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2192000" h="6858000">
                <a:moveTo>
                  <a:pt x="8759999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509000"/>
                </a:lnTo>
                <a:lnTo>
                  <a:pt x="1" y="4509000"/>
                </a:lnTo>
                <a:lnTo>
                  <a:pt x="1538964" y="4509000"/>
                </a:lnTo>
                <a:lnTo>
                  <a:pt x="1546112" y="4509000"/>
                </a:lnTo>
                <a:lnTo>
                  <a:pt x="1691816" y="4509000"/>
                </a:lnTo>
                <a:lnTo>
                  <a:pt x="1699674" y="4509000"/>
                </a:lnTo>
                <a:lnTo>
                  <a:pt x="1861287" y="4509000"/>
                </a:lnTo>
                <a:lnTo>
                  <a:pt x="1869932" y="4509000"/>
                </a:lnTo>
                <a:lnTo>
                  <a:pt x="2227928" y="4509000"/>
                </a:lnTo>
                <a:lnTo>
                  <a:pt x="2238276" y="4509000"/>
                </a:lnTo>
                <a:lnTo>
                  <a:pt x="2594568" y="4509000"/>
                </a:lnTo>
                <a:lnTo>
                  <a:pt x="2606619" y="4509000"/>
                </a:lnTo>
                <a:lnTo>
                  <a:pt x="2764039" y="4509000"/>
                </a:lnTo>
                <a:lnTo>
                  <a:pt x="2776877" y="4509000"/>
                </a:lnTo>
                <a:lnTo>
                  <a:pt x="2916890" y="4509000"/>
                </a:lnTo>
                <a:lnTo>
                  <a:pt x="2930438" y="4509000"/>
                </a:lnTo>
                <a:lnTo>
                  <a:pt x="6257159" y="4509000"/>
                </a:lnTo>
                <a:lnTo>
                  <a:pt x="6286220" y="4509000"/>
                </a:lnTo>
                <a:cubicBezTo>
                  <a:pt x="6669812" y="4509000"/>
                  <a:pt x="6979034" y="4199908"/>
                  <a:pt x="6979034" y="3819388"/>
                </a:cubicBezTo>
                <a:lnTo>
                  <a:pt x="6979034" y="3140165"/>
                </a:lnTo>
                <a:cubicBezTo>
                  <a:pt x="6979034" y="2758346"/>
                  <a:pt x="7289562" y="2450553"/>
                  <a:pt x="7671849" y="2450553"/>
                </a:cubicBezTo>
                <a:lnTo>
                  <a:pt x="8029891" y="2450553"/>
                </a:lnTo>
                <a:lnTo>
                  <a:pt x="8067185" y="2450553"/>
                </a:lnTo>
                <a:cubicBezTo>
                  <a:pt x="8450777" y="2450553"/>
                  <a:pt x="8759999" y="2141461"/>
                  <a:pt x="8759999" y="1760941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Bild einfüg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6D71DC6B-AF96-49CD-B1AC-D7C5C5972A6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8329" y="3294037"/>
            <a:ext cx="3493510" cy="840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84762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kurz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Untertitel 2">
            <a:extLst>
              <a:ext uri="{FF2B5EF4-FFF2-40B4-BE49-F238E27FC236}">
                <a16:creationId xmlns:a16="http://schemas.microsoft.com/office/drawing/2014/main" id="{B4DB53C6-4A5C-48C2-AF98-0DC609E20DF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200000" y="4869000"/>
            <a:ext cx="7488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r>
              <a:rPr lang="en-US"/>
              <a:t>Untertitel | Autor*in | Ort | Datu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2CC7B3-5721-4953-BA56-DB66B353865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1200000" y="2765760"/>
            <a:ext cx="7488000" cy="1944000"/>
          </a:xfrm>
        </p:spPr>
        <p:txBody>
          <a:bodyPr lIns="0" bIns="0" anchor="b"/>
          <a:lstStyle>
            <a:lvl1pPr algn="l">
              <a:lnSpc>
                <a:spcPct val="90000"/>
              </a:lnSpc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US"/>
              <a:t>Mastertitelformat bearbeiten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72DD3FE2-48A3-445F-9843-1184ABBFA86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566846 w 12192000"/>
              <a:gd name="connsiteY3" fmla="*/ 6858000 h 6858000"/>
              <a:gd name="connsiteX4" fmla="*/ 11566846 w 12192000"/>
              <a:gd name="connsiteY4" fmla="*/ 6656132 h 6858000"/>
              <a:gd name="connsiteX5" fmla="*/ 10764446 w 12192000"/>
              <a:gd name="connsiteY5" fmla="*/ 5853732 h 6858000"/>
              <a:gd name="connsiteX6" fmla="*/ 10132176 w 12192000"/>
              <a:gd name="connsiteY6" fmla="*/ 5853732 h 6858000"/>
              <a:gd name="connsiteX7" fmla="*/ 9329777 w 12192000"/>
              <a:gd name="connsiteY7" fmla="*/ 5051333 h 6858000"/>
              <a:gd name="connsiteX8" fmla="*/ 9329777 w 12192000"/>
              <a:gd name="connsiteY8" fmla="*/ 3075805 h 6858000"/>
              <a:gd name="connsiteX9" fmla="*/ 9331046 w 12192000"/>
              <a:gd name="connsiteY9" fmla="*/ 3075805 h 6858000"/>
              <a:gd name="connsiteX10" fmla="*/ 8528647 w 12192000"/>
              <a:gd name="connsiteY10" fmla="*/ 2273406 h 6858000"/>
              <a:gd name="connsiteX11" fmla="*/ 7439314 w 12192000"/>
              <a:gd name="connsiteY11" fmla="*/ 2273406 h 6858000"/>
              <a:gd name="connsiteX12" fmla="*/ 1507655 w 12192000"/>
              <a:gd name="connsiteY12" fmla="*/ 2273406 h 6858000"/>
              <a:gd name="connsiteX13" fmla="*/ 1426399 w 12192000"/>
              <a:gd name="connsiteY13" fmla="*/ 2273406 h 6858000"/>
              <a:gd name="connsiteX14" fmla="*/ 624000 w 12192000"/>
              <a:gd name="connsiteY14" fmla="*/ 3075805 h 6858000"/>
              <a:gd name="connsiteX15" fmla="*/ 624000 w 12192000"/>
              <a:gd name="connsiteY15" fmla="*/ 6858000 h 6858000"/>
              <a:gd name="connsiteX16" fmla="*/ 0 w 12192000"/>
              <a:gd name="connsiteY1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566846" y="6858000"/>
                </a:lnTo>
                <a:lnTo>
                  <a:pt x="11566846" y="6656132"/>
                </a:lnTo>
                <a:cubicBezTo>
                  <a:pt x="11566846" y="6213034"/>
                  <a:pt x="11207543" y="5853732"/>
                  <a:pt x="10764446" y="5853732"/>
                </a:cubicBezTo>
                <a:lnTo>
                  <a:pt x="10132176" y="5853732"/>
                </a:lnTo>
                <a:cubicBezTo>
                  <a:pt x="9689079" y="5853732"/>
                  <a:pt x="9329777" y="5494430"/>
                  <a:pt x="9329777" y="5051333"/>
                </a:cubicBezTo>
                <a:lnTo>
                  <a:pt x="9329777" y="3075805"/>
                </a:lnTo>
                <a:lnTo>
                  <a:pt x="9331046" y="3075805"/>
                </a:lnTo>
                <a:cubicBezTo>
                  <a:pt x="9331046" y="2632708"/>
                  <a:pt x="8971745" y="2273406"/>
                  <a:pt x="8528647" y="2273406"/>
                </a:cubicBezTo>
                <a:lnTo>
                  <a:pt x="7439314" y="2273406"/>
                </a:lnTo>
                <a:lnTo>
                  <a:pt x="1507655" y="2273406"/>
                </a:lnTo>
                <a:lnTo>
                  <a:pt x="1426399" y="2273406"/>
                </a:lnTo>
                <a:cubicBezTo>
                  <a:pt x="983302" y="2273406"/>
                  <a:pt x="624000" y="2632708"/>
                  <a:pt x="624000" y="3075805"/>
                </a:cubicBezTo>
                <a:lnTo>
                  <a:pt x="62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pPr lvl="4"/>
            <a:r>
              <a:rPr lang="en-US"/>
              <a:t>Bild einfügen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4FDD70A-4F9F-473B-9136-4362D20C605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28666" y="5565367"/>
            <a:ext cx="3493510" cy="840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531156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kurz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776EA0-9308-4136-9D96-5081DF8610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624000" y="2689950"/>
            <a:ext cx="7704000" cy="2016000"/>
          </a:xfrm>
        </p:spPr>
        <p:txBody>
          <a:bodyPr lIns="0" anchor="b"/>
          <a:lstStyle>
            <a:lvl1pPr algn="l">
              <a:lnSpc>
                <a:spcPct val="90000"/>
              </a:lnSpc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US"/>
              <a:t>Titel hinzufügen</a:t>
            </a:r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768CC432-56E4-4092-B0F1-5C6FD1847C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624000" y="4869000"/>
            <a:ext cx="7704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r>
              <a:rPr lang="en-US"/>
              <a:t>Untertitel | Autor*in | Ort | Datum</a:t>
            </a:r>
          </a:p>
        </p:txBody>
      </p:sp>
      <p:sp>
        <p:nvSpPr>
          <p:cNvPr id="24" name="Bildplatzhalter 23">
            <a:extLst>
              <a:ext uri="{FF2B5EF4-FFF2-40B4-BE49-F238E27FC236}">
                <a16:creationId xmlns:a16="http://schemas.microsoft.com/office/drawing/2014/main" id="{A334F372-56B2-4EE2-AF33-FB1BE7DAF48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6856095 h 6858000"/>
              <a:gd name="connsiteX1" fmla="*/ 1 w 12192000"/>
              <a:gd name="connsiteY1" fmla="*/ 6856095 h 6858000"/>
              <a:gd name="connsiteX2" fmla="*/ 1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9047029 w 12192000"/>
              <a:gd name="connsiteY7" fmla="*/ 6858000 h 6858000"/>
              <a:gd name="connsiteX8" fmla="*/ 9047029 w 12192000"/>
              <a:gd name="connsiteY8" fmla="*/ 5121593 h 6858000"/>
              <a:gd name="connsiteX9" fmla="*/ 9047029 w 12192000"/>
              <a:gd name="connsiteY9" fmla="*/ 2782253 h 6858000"/>
              <a:gd name="connsiteX10" fmla="*/ 9047997 w 12192000"/>
              <a:gd name="connsiteY10" fmla="*/ 2782253 h 6858000"/>
              <a:gd name="connsiteX11" fmla="*/ 8437835 w 12192000"/>
              <a:gd name="connsiteY11" fmla="*/ 2180273 h 6858000"/>
              <a:gd name="connsiteX12" fmla="*/ 8330407 w 12192000"/>
              <a:gd name="connsiteY12" fmla="*/ 2180273 h 6858000"/>
              <a:gd name="connsiteX13" fmla="*/ 8311515 w 12192000"/>
              <a:gd name="connsiteY13" fmla="*/ 2178368 h 6858000"/>
              <a:gd name="connsiteX14" fmla="*/ 7494270 w 12192000"/>
              <a:gd name="connsiteY14" fmla="*/ 2178368 h 6858000"/>
              <a:gd name="connsiteX15" fmla="*/ 1884046 w 12192000"/>
              <a:gd name="connsiteY15" fmla="*/ 2178368 h 6858000"/>
              <a:gd name="connsiteX16" fmla="*/ 1774259 w 12192000"/>
              <a:gd name="connsiteY16" fmla="*/ 2159742 h 6858000"/>
              <a:gd name="connsiteX17" fmla="*/ 1301551 w 12192000"/>
              <a:gd name="connsiteY17" fmla="*/ 1549718 h 6858000"/>
              <a:gd name="connsiteX18" fmla="*/ 1301551 w 12192000"/>
              <a:gd name="connsiteY18" fmla="*/ 1187768 h 6858000"/>
              <a:gd name="connsiteX19" fmla="*/ 788310 w 12192000"/>
              <a:gd name="connsiteY19" fmla="*/ 567195 h 6858000"/>
              <a:gd name="connsiteX20" fmla="*/ 780008 w 12192000"/>
              <a:gd name="connsiteY20" fmla="*/ 566374 h 6858000"/>
              <a:gd name="connsiteX21" fmla="*/ 776508 w 12192000"/>
              <a:gd name="connsiteY21" fmla="*/ 565290 h 6858000"/>
              <a:gd name="connsiteX22" fmla="*/ 648653 w 12192000"/>
              <a:gd name="connsiteY22" fmla="*/ 552450 h 6858000"/>
              <a:gd name="connsiteX23" fmla="*/ 0 w 12192000"/>
              <a:gd name="connsiteY23" fmla="*/ 5524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2000" h="6858000">
                <a:moveTo>
                  <a:pt x="0" y="6856095"/>
                </a:moveTo>
                <a:lnTo>
                  <a:pt x="1" y="6856095"/>
                </a:lnTo>
                <a:lnTo>
                  <a:pt x="1" y="6858000"/>
                </a:lnTo>
                <a:lnTo>
                  <a:pt x="0" y="6858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9047029" y="6858000"/>
                </a:lnTo>
                <a:cubicBezTo>
                  <a:pt x="9047029" y="6858000"/>
                  <a:pt x="9047029" y="5454015"/>
                  <a:pt x="9047029" y="5121593"/>
                </a:cubicBezTo>
                <a:lnTo>
                  <a:pt x="9047029" y="2782253"/>
                </a:lnTo>
                <a:lnTo>
                  <a:pt x="9047997" y="2782253"/>
                </a:lnTo>
                <a:cubicBezTo>
                  <a:pt x="9048963" y="2449830"/>
                  <a:pt x="8775310" y="2180273"/>
                  <a:pt x="8437835" y="2180273"/>
                </a:cubicBezTo>
                <a:lnTo>
                  <a:pt x="8330407" y="2180273"/>
                </a:lnTo>
                <a:lnTo>
                  <a:pt x="8311515" y="2178368"/>
                </a:lnTo>
                <a:lnTo>
                  <a:pt x="7494270" y="2178368"/>
                </a:lnTo>
                <a:lnTo>
                  <a:pt x="1884046" y="2178368"/>
                </a:lnTo>
                <a:lnTo>
                  <a:pt x="1774259" y="2159742"/>
                </a:lnTo>
                <a:cubicBezTo>
                  <a:pt x="1501443" y="2086452"/>
                  <a:pt x="1301551" y="1841421"/>
                  <a:pt x="1301551" y="1549718"/>
                </a:cubicBezTo>
                <a:lnTo>
                  <a:pt x="1301551" y="1187768"/>
                </a:lnTo>
                <a:cubicBezTo>
                  <a:pt x="1301551" y="881063"/>
                  <a:pt x="1081670" y="626135"/>
                  <a:pt x="788310" y="567195"/>
                </a:cubicBezTo>
                <a:lnTo>
                  <a:pt x="780008" y="566374"/>
                </a:lnTo>
                <a:lnTo>
                  <a:pt x="776508" y="565290"/>
                </a:lnTo>
                <a:cubicBezTo>
                  <a:pt x="735227" y="556870"/>
                  <a:pt x="692468" y="552450"/>
                  <a:pt x="648653" y="552450"/>
                </a:cubicBezTo>
                <a:lnTo>
                  <a:pt x="0" y="55245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Bild einfügen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E52F32E8-3928-4537-8B47-FE8BDBB60B6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7108" y="5565367"/>
            <a:ext cx="3493510" cy="840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53638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15287F2-4C81-49CB-BD75-94BEC6AF1B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656000" y="1989000"/>
            <a:ext cx="6912000" cy="2448000"/>
          </a:xfrm>
        </p:spPr>
        <p:txBody>
          <a:bodyPr anchor="b"/>
          <a:lstStyle>
            <a:lvl1pPr>
              <a:lnSpc>
                <a:spcPct val="9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Eine Trennerseite, </a:t>
            </a:r>
            <a:br>
              <a:rPr lang="en-US"/>
            </a:br>
            <a:r>
              <a:rPr lang="en-US"/>
              <a:t>um die Kapitel </a:t>
            </a:r>
            <a:br>
              <a:rPr lang="en-US"/>
            </a:br>
            <a:r>
              <a:rPr lang="en-US"/>
              <a:t>zu unterscheiden</a:t>
            </a:r>
          </a:p>
        </p:txBody>
      </p:sp>
      <p:sp>
        <p:nvSpPr>
          <p:cNvPr id="24" name="Untertitel 2">
            <a:extLst>
              <a:ext uri="{FF2B5EF4-FFF2-40B4-BE49-F238E27FC236}">
                <a16:creationId xmlns:a16="http://schemas.microsoft.com/office/drawing/2014/main" id="{E3FD7DC8-726A-46D4-A85A-BF1992E8210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656000" y="4604814"/>
            <a:ext cx="6912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pPr marL="0" marR="0" lvl="4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+mn-lt" panose="05020102010507070707" pitchFamily="18" charset="2"/>
              <a:buNone/>
              <a:tabLst/>
              <a:defRPr/>
            </a:pPr>
            <a:r>
              <a:rPr lang="en-US"/>
              <a:t>Hier könnte eine kurze Kapitelbeschreibung stehen.</a:t>
            </a:r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6A8ADA5C-DC72-433A-8A72-6B603222FD9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1" y="0"/>
            <a:ext cx="8264854" cy="6858000"/>
          </a:xfrm>
          <a:custGeom>
            <a:avLst/>
            <a:gdLst>
              <a:gd name="connsiteX0" fmla="*/ 0 w 8264854"/>
              <a:gd name="connsiteY0" fmla="*/ 0 h 6858000"/>
              <a:gd name="connsiteX1" fmla="*/ 8264854 w 8264854"/>
              <a:gd name="connsiteY1" fmla="*/ 0 h 6858000"/>
              <a:gd name="connsiteX2" fmla="*/ 8263583 w 8264854"/>
              <a:gd name="connsiteY2" fmla="*/ 468273 h 6858000"/>
              <a:gd name="connsiteX3" fmla="*/ 8262290 w 8264854"/>
              <a:gd name="connsiteY3" fmla="*/ 944495 h 6858000"/>
              <a:gd name="connsiteX4" fmla="*/ 7719043 w 8264854"/>
              <a:gd name="connsiteY4" fmla="*/ 1488440 h 6858000"/>
              <a:gd name="connsiteX5" fmla="*/ 4623367 w 8264854"/>
              <a:gd name="connsiteY5" fmla="*/ 1488440 h 6858000"/>
              <a:gd name="connsiteX6" fmla="*/ 4080121 w 8264854"/>
              <a:gd name="connsiteY6" fmla="*/ 2032385 h 6858000"/>
              <a:gd name="connsiteX7" fmla="*/ 4081046 w 8264854"/>
              <a:gd name="connsiteY7" fmla="*/ 2032385 h 6858000"/>
              <a:gd name="connsiteX8" fmla="*/ 4081046 w 8264854"/>
              <a:gd name="connsiteY8" fmla="*/ 4045072 h 6858000"/>
              <a:gd name="connsiteX9" fmla="*/ 3537798 w 8264854"/>
              <a:gd name="connsiteY9" fmla="*/ 4589017 h 6858000"/>
              <a:gd name="connsiteX10" fmla="*/ 3110235 w 8264854"/>
              <a:gd name="connsiteY10" fmla="*/ 4589017 h 6858000"/>
              <a:gd name="connsiteX11" fmla="*/ 2566987 w 8264854"/>
              <a:gd name="connsiteY11" fmla="*/ 5132963 h 6858000"/>
              <a:gd name="connsiteX12" fmla="*/ 2566987 w 8264854"/>
              <a:gd name="connsiteY12" fmla="*/ 6858000 h 6858000"/>
              <a:gd name="connsiteX13" fmla="*/ 0 w 8264854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264854" h="6858000">
                <a:moveTo>
                  <a:pt x="0" y="0"/>
                </a:moveTo>
                <a:lnTo>
                  <a:pt x="8264854" y="0"/>
                </a:lnTo>
                <a:lnTo>
                  <a:pt x="8263583" y="468273"/>
                </a:lnTo>
                <a:cubicBezTo>
                  <a:pt x="8263152" y="628601"/>
                  <a:pt x="8262721" y="788929"/>
                  <a:pt x="8262290" y="944495"/>
                </a:cubicBezTo>
                <a:cubicBezTo>
                  <a:pt x="8262290" y="1244731"/>
                  <a:pt x="8018893" y="1488440"/>
                  <a:pt x="7719043" y="1488440"/>
                </a:cubicBezTo>
                <a:lnTo>
                  <a:pt x="4623367" y="1488440"/>
                </a:lnTo>
                <a:cubicBezTo>
                  <a:pt x="4323517" y="1488440"/>
                  <a:pt x="4080121" y="1732150"/>
                  <a:pt x="4080121" y="2032385"/>
                </a:cubicBezTo>
                <a:lnTo>
                  <a:pt x="4081046" y="2032385"/>
                </a:lnTo>
                <a:lnTo>
                  <a:pt x="4081046" y="4045072"/>
                </a:lnTo>
                <a:cubicBezTo>
                  <a:pt x="4081046" y="4345308"/>
                  <a:pt x="3837649" y="4589017"/>
                  <a:pt x="3537798" y="4589017"/>
                </a:cubicBezTo>
                <a:lnTo>
                  <a:pt x="3110235" y="4589017"/>
                </a:lnTo>
                <a:cubicBezTo>
                  <a:pt x="2810384" y="4589017"/>
                  <a:pt x="2566987" y="4832727"/>
                  <a:pt x="2566987" y="5132963"/>
                </a:cubicBezTo>
                <a:lnTo>
                  <a:pt x="256698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en-US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97344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E4369FD-4569-413B-8637-ED89BF8BE4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24000" y="1989000"/>
            <a:ext cx="6840000" cy="2448000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Eine Trennerseite, </a:t>
            </a:r>
            <a:br>
              <a:rPr lang="en-US"/>
            </a:br>
            <a:r>
              <a:rPr lang="en-US"/>
              <a:t>um die Kapitel </a:t>
            </a:r>
            <a:br>
              <a:rPr lang="en-US"/>
            </a:br>
            <a:r>
              <a:rPr lang="en-US"/>
              <a:t>zu unterscheiden</a:t>
            </a:r>
          </a:p>
        </p:txBody>
      </p:sp>
      <p:sp>
        <p:nvSpPr>
          <p:cNvPr id="27" name="Untertitel 2">
            <a:extLst>
              <a:ext uri="{FF2B5EF4-FFF2-40B4-BE49-F238E27FC236}">
                <a16:creationId xmlns:a16="http://schemas.microsoft.com/office/drawing/2014/main" id="{A4E67476-8A11-4E03-B57B-AF937AFD8E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624000" y="4604813"/>
            <a:ext cx="6840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pPr marL="0" marR="0" lvl="4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+mn-lt" panose="05020102010507070707" pitchFamily="18" charset="2"/>
              <a:buNone/>
              <a:tabLst/>
              <a:defRPr/>
            </a:pPr>
            <a:r>
              <a:rPr lang="en-US"/>
              <a:t>Hier könnte eine kurze Kapitelbeschreibung stehen.</a:t>
            </a:r>
          </a:p>
        </p:txBody>
      </p: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E4373149-AA5B-4292-9664-47F3DBB697D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5200614" y="0"/>
            <a:ext cx="6991387" cy="6858000"/>
          </a:xfrm>
          <a:custGeom>
            <a:avLst/>
            <a:gdLst>
              <a:gd name="connsiteX0" fmla="*/ 1020613 w 6991387"/>
              <a:gd name="connsiteY0" fmla="*/ 0 h 6858000"/>
              <a:gd name="connsiteX1" fmla="*/ 6991387 w 6991387"/>
              <a:gd name="connsiteY1" fmla="*/ 0 h 6858000"/>
              <a:gd name="connsiteX2" fmla="*/ 6991387 w 6991387"/>
              <a:gd name="connsiteY2" fmla="*/ 6858000 h 6858000"/>
              <a:gd name="connsiteX3" fmla="*/ 0 w 6991387"/>
              <a:gd name="connsiteY3" fmla="*/ 6858000 h 6858000"/>
              <a:gd name="connsiteX4" fmla="*/ 4907 w 6991387"/>
              <a:gd name="connsiteY4" fmla="*/ 6809259 h 6858000"/>
              <a:gd name="connsiteX5" fmla="*/ 708823 w 6991387"/>
              <a:gd name="connsiteY5" fmla="*/ 6235368 h 6858000"/>
              <a:gd name="connsiteX6" fmla="*/ 2192070 w 6991387"/>
              <a:gd name="connsiteY6" fmla="*/ 6235368 h 6858000"/>
              <a:gd name="connsiteX7" fmla="*/ 2910597 w 6991387"/>
              <a:gd name="connsiteY7" fmla="*/ 5516290 h 6858000"/>
              <a:gd name="connsiteX8" fmla="*/ 2910597 w 6991387"/>
              <a:gd name="connsiteY8" fmla="*/ 1498449 h 6858000"/>
              <a:gd name="connsiteX9" fmla="*/ 2192070 w 6991387"/>
              <a:gd name="connsiteY9" fmla="*/ 779372 h 6858000"/>
              <a:gd name="connsiteX10" fmla="*/ 1739139 w 6991387"/>
              <a:gd name="connsiteY10" fmla="*/ 779372 h 6858000"/>
              <a:gd name="connsiteX11" fmla="*/ 1020613 w 6991387"/>
              <a:gd name="connsiteY11" fmla="*/ 6029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91387" h="6858000">
                <a:moveTo>
                  <a:pt x="1020613" y="0"/>
                </a:moveTo>
                <a:lnTo>
                  <a:pt x="6991387" y="0"/>
                </a:lnTo>
                <a:lnTo>
                  <a:pt x="6991387" y="6858000"/>
                </a:lnTo>
                <a:lnTo>
                  <a:pt x="0" y="6858000"/>
                </a:lnTo>
                <a:lnTo>
                  <a:pt x="4907" y="6809259"/>
                </a:lnTo>
                <a:cubicBezTo>
                  <a:pt x="71970" y="6481145"/>
                  <a:pt x="361908" y="6235368"/>
                  <a:pt x="708823" y="6235368"/>
                </a:cubicBezTo>
                <a:lnTo>
                  <a:pt x="2192070" y="6235368"/>
                </a:lnTo>
                <a:cubicBezTo>
                  <a:pt x="2589827" y="6235368"/>
                  <a:pt x="2910597" y="5913067"/>
                  <a:pt x="2910597" y="5516290"/>
                </a:cubicBezTo>
                <a:lnTo>
                  <a:pt x="2910597" y="1498449"/>
                </a:lnTo>
                <a:cubicBezTo>
                  <a:pt x="2910597" y="1100389"/>
                  <a:pt x="2588544" y="779372"/>
                  <a:pt x="2192070" y="779372"/>
                </a:cubicBezTo>
                <a:lnTo>
                  <a:pt x="1739139" y="779372"/>
                </a:lnTo>
                <a:cubicBezTo>
                  <a:pt x="1341383" y="779372"/>
                  <a:pt x="1020613" y="457071"/>
                  <a:pt x="1020613" y="60294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3914688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0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>
            <a:extLst>
              <a:ext uri="{FF2B5EF4-FFF2-40B4-BE49-F238E27FC236}">
                <a16:creationId xmlns:a16="http://schemas.microsoft.com/office/drawing/2014/main" id="{04B637A3-33C5-4A94-B8A3-0C6F5F53D6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016000" y="1989000"/>
            <a:ext cx="6552000" cy="2448000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Eine Trennerseite, um die Kapitel </a:t>
            </a:r>
            <a:br>
              <a:rPr lang="en-US"/>
            </a:br>
            <a:r>
              <a:rPr lang="en-US"/>
              <a:t>zu unterscheiden</a:t>
            </a:r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E119360A-7028-4033-BE23-C2EE0FCAA94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5016000" y="4604513"/>
            <a:ext cx="6552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4"/>
            <a:r>
              <a:rPr lang="en-US"/>
              <a:t>Hier könnte eine kurze Kapitelbeschreibung stehen.</a:t>
            </a:r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1CD20AB6-DE4E-4C97-B230-3658F9A8648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2" y="-1"/>
            <a:ext cx="7353298" cy="6858001"/>
          </a:xfrm>
          <a:custGeom>
            <a:avLst/>
            <a:gdLst>
              <a:gd name="connsiteX0" fmla="*/ 0 w 7607999"/>
              <a:gd name="connsiteY0" fmla="*/ 0 h 6858001"/>
              <a:gd name="connsiteX1" fmla="*/ 7607999 w 7607999"/>
              <a:gd name="connsiteY1" fmla="*/ 0 h 6858001"/>
              <a:gd name="connsiteX2" fmla="*/ 7607999 w 7607999"/>
              <a:gd name="connsiteY2" fmla="*/ 630974 h 6858001"/>
              <a:gd name="connsiteX3" fmla="*/ 6784305 w 7607999"/>
              <a:gd name="connsiteY3" fmla="*/ 1482877 h 6858001"/>
              <a:gd name="connsiteX4" fmla="*/ 5342841 w 7607999"/>
              <a:gd name="connsiteY4" fmla="*/ 1482877 h 6858001"/>
              <a:gd name="connsiteX5" fmla="*/ 4519148 w 7607999"/>
              <a:gd name="connsiteY5" fmla="*/ 2334779 h 6858001"/>
              <a:gd name="connsiteX6" fmla="*/ 4519148 w 7607999"/>
              <a:gd name="connsiteY6" fmla="*/ 6858001 h 6858001"/>
              <a:gd name="connsiteX7" fmla="*/ 0 w 7607999"/>
              <a:gd name="connsiteY7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07999" h="6858001">
                <a:moveTo>
                  <a:pt x="0" y="0"/>
                </a:moveTo>
                <a:lnTo>
                  <a:pt x="7607999" y="0"/>
                </a:lnTo>
                <a:lnTo>
                  <a:pt x="7607999" y="630974"/>
                </a:lnTo>
                <a:cubicBezTo>
                  <a:pt x="7607999" y="1102059"/>
                  <a:pt x="7238465" y="1482877"/>
                  <a:pt x="6784305" y="1482877"/>
                </a:cubicBezTo>
                <a:lnTo>
                  <a:pt x="5342841" y="1482877"/>
                </a:lnTo>
                <a:cubicBezTo>
                  <a:pt x="4888682" y="1482877"/>
                  <a:pt x="4519148" y="1863694"/>
                  <a:pt x="4519148" y="2334779"/>
                </a:cubicBezTo>
                <a:lnTo>
                  <a:pt x="4519148" y="6858001"/>
                </a:lnTo>
                <a:lnTo>
                  <a:pt x="0" y="6858001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6891910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9085B700-7E7E-495E-8770-F2C0E4CC3FE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5594714" y="0"/>
            <a:ext cx="6597286" cy="6858000"/>
          </a:xfrm>
          <a:custGeom>
            <a:avLst/>
            <a:gdLst>
              <a:gd name="connsiteX0" fmla="*/ 2651633 w 6597286"/>
              <a:gd name="connsiteY0" fmla="*/ 0 h 6858000"/>
              <a:gd name="connsiteX1" fmla="*/ 6597286 w 6597286"/>
              <a:gd name="connsiteY1" fmla="*/ 0 h 6858000"/>
              <a:gd name="connsiteX2" fmla="*/ 6597286 w 6597286"/>
              <a:gd name="connsiteY2" fmla="*/ 6858000 h 6858000"/>
              <a:gd name="connsiteX3" fmla="*/ 0 w 6597286"/>
              <a:gd name="connsiteY3" fmla="*/ 6858000 h 6858000"/>
              <a:gd name="connsiteX4" fmla="*/ 7452 w 6597286"/>
              <a:gd name="connsiteY4" fmla="*/ 6809170 h 6858000"/>
              <a:gd name="connsiteX5" fmla="*/ 885502 w 6597286"/>
              <a:gd name="connsiteY5" fmla="*/ 6093335 h 6858000"/>
              <a:gd name="connsiteX6" fmla="*/ 4140126 w 6597286"/>
              <a:gd name="connsiteY6" fmla="*/ 6093335 h 6858000"/>
              <a:gd name="connsiteX7" fmla="*/ 5036364 w 6597286"/>
              <a:gd name="connsiteY7" fmla="*/ 5172770 h 6858000"/>
              <a:gd name="connsiteX8" fmla="*/ 5036364 w 6597286"/>
              <a:gd name="connsiteY8" fmla="*/ 1590378 h 6858000"/>
              <a:gd name="connsiteX9" fmla="*/ 4140126 w 6597286"/>
              <a:gd name="connsiteY9" fmla="*/ 694140 h 6858000"/>
              <a:gd name="connsiteX10" fmla="*/ 3523003 w 6597286"/>
              <a:gd name="connsiteY10" fmla="*/ 694140 h 6858000"/>
              <a:gd name="connsiteX11" fmla="*/ 2697304 w 6597286"/>
              <a:gd name="connsiteY11" fmla="*/ 14697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597286" h="6858000">
                <a:moveTo>
                  <a:pt x="2651633" y="0"/>
                </a:moveTo>
                <a:lnTo>
                  <a:pt x="6597286" y="0"/>
                </a:lnTo>
                <a:lnTo>
                  <a:pt x="6597286" y="6858000"/>
                </a:lnTo>
                <a:lnTo>
                  <a:pt x="0" y="6858000"/>
                </a:lnTo>
                <a:lnTo>
                  <a:pt x="7452" y="6809170"/>
                </a:lnTo>
                <a:cubicBezTo>
                  <a:pt x="90931" y="6401137"/>
                  <a:pt x="451947" y="6093335"/>
                  <a:pt x="885502" y="6093335"/>
                </a:cubicBezTo>
                <a:lnTo>
                  <a:pt x="4140126" y="6093335"/>
                </a:lnTo>
                <a:cubicBezTo>
                  <a:pt x="4634338" y="6093335"/>
                  <a:pt x="5036364" y="5668262"/>
                  <a:pt x="5036364" y="5172770"/>
                </a:cubicBezTo>
                <a:lnTo>
                  <a:pt x="5036364" y="1590378"/>
                </a:lnTo>
                <a:cubicBezTo>
                  <a:pt x="5036364" y="1096167"/>
                  <a:pt x="4635618" y="694140"/>
                  <a:pt x="4140126" y="694140"/>
                </a:cubicBezTo>
                <a:lnTo>
                  <a:pt x="3523003" y="694140"/>
                </a:lnTo>
                <a:cubicBezTo>
                  <a:pt x="3152344" y="694140"/>
                  <a:pt x="2833540" y="468720"/>
                  <a:pt x="2697304" y="146974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Weißer Hintergrund oder optional </a:t>
            </a:r>
            <a:br>
              <a:rPr lang="en-US"/>
            </a:br>
            <a:r>
              <a:rPr lang="en-US"/>
              <a:t>Verlauf als Bild reinlad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830D87-D07A-43A8-A980-AB5EBED7AB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24000" y="405000"/>
            <a:ext cx="5472000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6217888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EFC226-BB11-4405-967C-3564772CC2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Überschrift einzeilig 40pt (zweizeilig 24pt)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46B59290-87BC-4AFB-854D-B3809A4D23C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/>
        <p:txBody>
          <a:bodyPr>
            <a:noAutofit/>
          </a:bodyPr>
          <a:lstStyle/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03B8F279-B1D3-43B6-8D86-43D376BF54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Kickoff DT Google Ericsson - Vienna 12.09.2022</a:t>
            </a:r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AFB880FA-6A04-46FF-86EF-D91188145C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6C3F19D1-DB94-4590-97A5-4804E4DF6ED9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44848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EFC226-BB11-4405-967C-3564772CC2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Überschrift einzeilig 40pt (zweizeilig 24pt)</a:t>
            </a:r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760B6CD3-4D23-41AF-813B-493EA0339D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Kickoff DT Google Ericsson - Vienna 12.09.2022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1E6EB998-053A-44F9-969A-AB1A92F982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6C3F19D1-DB94-4590-97A5-4804E4DF6ED9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67611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02">
    <p:bg>
      <p:bgPr>
        <a:gradFill>
          <a:gsLst>
            <a:gs pos="0">
              <a:srgbClr val="002060">
                <a:lumMod val="75000"/>
              </a:srgbClr>
            </a:gs>
            <a:gs pos="100000">
              <a:schemeClr val="tx1"/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C753D985-A9FD-4764-9B68-2C7587A05E0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279529" y="0"/>
            <a:ext cx="6912471" cy="6858000"/>
          </a:xfrm>
          <a:custGeom>
            <a:avLst/>
            <a:gdLst>
              <a:gd name="connsiteX0" fmla="*/ 1020613 w 6912471"/>
              <a:gd name="connsiteY0" fmla="*/ 0 h 6858000"/>
              <a:gd name="connsiteX1" fmla="*/ 6912471 w 6912471"/>
              <a:gd name="connsiteY1" fmla="*/ 0 h 6858000"/>
              <a:gd name="connsiteX2" fmla="*/ 6912471 w 6912471"/>
              <a:gd name="connsiteY2" fmla="*/ 6858000 h 6858000"/>
              <a:gd name="connsiteX3" fmla="*/ 0 w 6912471"/>
              <a:gd name="connsiteY3" fmla="*/ 6858000 h 6858000"/>
              <a:gd name="connsiteX4" fmla="*/ 4907 w 6912471"/>
              <a:gd name="connsiteY4" fmla="*/ 6809259 h 6858000"/>
              <a:gd name="connsiteX5" fmla="*/ 708823 w 6912471"/>
              <a:gd name="connsiteY5" fmla="*/ 6235368 h 6858000"/>
              <a:gd name="connsiteX6" fmla="*/ 2113155 w 6912471"/>
              <a:gd name="connsiteY6" fmla="*/ 6235368 h 6858000"/>
              <a:gd name="connsiteX7" fmla="*/ 2192070 w 6912471"/>
              <a:gd name="connsiteY7" fmla="*/ 6235368 h 6858000"/>
              <a:gd name="connsiteX8" fmla="*/ 2910597 w 6912471"/>
              <a:gd name="connsiteY8" fmla="*/ 5516290 h 6858000"/>
              <a:gd name="connsiteX9" fmla="*/ 2910597 w 6912471"/>
              <a:gd name="connsiteY9" fmla="*/ 1498449 h 6858000"/>
              <a:gd name="connsiteX10" fmla="*/ 2192070 w 6912471"/>
              <a:gd name="connsiteY10" fmla="*/ 779372 h 6858000"/>
              <a:gd name="connsiteX11" fmla="*/ 2113155 w 6912471"/>
              <a:gd name="connsiteY11" fmla="*/ 779372 h 6858000"/>
              <a:gd name="connsiteX12" fmla="*/ 1739139 w 6912471"/>
              <a:gd name="connsiteY12" fmla="*/ 779372 h 6858000"/>
              <a:gd name="connsiteX13" fmla="*/ 1020613 w 6912471"/>
              <a:gd name="connsiteY13" fmla="*/ 6029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912471" h="6858000">
                <a:moveTo>
                  <a:pt x="1020613" y="0"/>
                </a:moveTo>
                <a:lnTo>
                  <a:pt x="6912471" y="0"/>
                </a:lnTo>
                <a:lnTo>
                  <a:pt x="6912471" y="6858000"/>
                </a:lnTo>
                <a:lnTo>
                  <a:pt x="0" y="6858000"/>
                </a:lnTo>
                <a:lnTo>
                  <a:pt x="4907" y="6809259"/>
                </a:lnTo>
                <a:cubicBezTo>
                  <a:pt x="71970" y="6481145"/>
                  <a:pt x="361908" y="6235368"/>
                  <a:pt x="708823" y="6235368"/>
                </a:cubicBezTo>
                <a:lnTo>
                  <a:pt x="2113155" y="6235368"/>
                </a:lnTo>
                <a:lnTo>
                  <a:pt x="2192070" y="6235368"/>
                </a:lnTo>
                <a:cubicBezTo>
                  <a:pt x="2589827" y="6235368"/>
                  <a:pt x="2910597" y="5913067"/>
                  <a:pt x="2910597" y="5516290"/>
                </a:cubicBezTo>
                <a:lnTo>
                  <a:pt x="2910597" y="1498449"/>
                </a:lnTo>
                <a:cubicBezTo>
                  <a:pt x="2910597" y="1100389"/>
                  <a:pt x="2588544" y="779372"/>
                  <a:pt x="2192070" y="779372"/>
                </a:cubicBezTo>
                <a:lnTo>
                  <a:pt x="2113155" y="779372"/>
                </a:lnTo>
                <a:lnTo>
                  <a:pt x="1739139" y="779372"/>
                </a:lnTo>
                <a:cubicBezTo>
                  <a:pt x="1341383" y="779372"/>
                  <a:pt x="1020613" y="457071"/>
                  <a:pt x="1020613" y="60294"/>
                </a:cubicBezTo>
                <a:close/>
              </a:path>
            </a:pathLst>
          </a:custGeom>
          <a:solidFill>
            <a:srgbClr val="E20074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E4369FD-4569-413B-8637-ED89BF8BE4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376" y="1989000"/>
            <a:ext cx="6984000" cy="2448000"/>
          </a:xfrm>
        </p:spPr>
        <p:txBody>
          <a:bodyPr anchor="b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slide</a:t>
            </a:r>
            <a:br>
              <a:rPr lang="en-US" dirty="0"/>
            </a:br>
            <a:r>
              <a:rPr lang="en-US" dirty="0"/>
              <a:t>to separate chapters</a:t>
            </a:r>
          </a:p>
        </p:txBody>
      </p:sp>
      <p:sp>
        <p:nvSpPr>
          <p:cNvPr id="27" name="Untertitel 2">
            <a:extLst>
              <a:ext uri="{FF2B5EF4-FFF2-40B4-BE49-F238E27FC236}">
                <a16:creationId xmlns:a16="http://schemas.microsoft.com/office/drawing/2014/main" id="{A4E67476-8A11-4E03-B57B-AF937AFD8E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4604813"/>
            <a:ext cx="6984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pPr marL="0" marR="0" lvl="4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+mn-lt" panose="05020102010507070707" pitchFamily="18" charset="2"/>
              <a:buNone/>
              <a:tabLst/>
              <a:defRPr/>
            </a:pPr>
            <a:r>
              <a:rPr lang="en-US" dirty="0"/>
              <a:t>Click to add further information</a:t>
            </a:r>
          </a:p>
        </p:txBody>
      </p:sp>
      <p:pic>
        <p:nvPicPr>
          <p:cNvPr id="5" name="Grafik 7">
            <a:extLst>
              <a:ext uri="{FF2B5EF4-FFF2-40B4-BE49-F238E27FC236}">
                <a16:creationId xmlns:a16="http://schemas.microsoft.com/office/drawing/2014/main" id="{4F0D5B09-2971-4AA5-84EC-F78B4F5BF9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9376" y="5867400"/>
            <a:ext cx="1102443" cy="779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4421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88F366C2-84D4-4B52-8F19-47225EFA32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Kickoff DT Google Ericsson - Vienna 12.09.2022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C5366064-1808-4159-BB7D-81B4B8BCFD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6C3F19D1-DB94-4590-97A5-4804E4DF6ED9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15754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3E96A5-93EA-451A-88A2-0C4325907D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Überschrift einzeilig 40pt (zweizeilig 24pt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5D6AE95-30E2-4E14-9028-628793137D1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624000" y="1484313"/>
            <a:ext cx="5328000" cy="4752000"/>
          </a:xfrm>
        </p:spPr>
        <p:txBody>
          <a:bodyPr>
            <a:noAutofit/>
          </a:bodyPr>
          <a:lstStyle/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20BABE80-E0D1-46E7-8B60-730D1088E23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6240000" y="1483726"/>
            <a:ext cx="5328000" cy="4752000"/>
          </a:xfrm>
        </p:spPr>
        <p:txBody>
          <a:bodyPr>
            <a:noAutofit/>
          </a:bodyPr>
          <a:lstStyle/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0FE876BA-660A-4BDA-B0EE-7D586FC0DA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Kickoff DT Google Ericsson - Vienna 12.09.2022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0F9F7CD9-F054-465B-93B6-B23B34D2B3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6C3F19D1-DB94-4590-97A5-4804E4DF6ED9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99616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CF5EE6-FFD8-44FD-9C80-95B68F34D2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Überschrift einzeilig 40pt (zweizeilig 24pt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422070A-7303-4B7F-93D4-191685839B5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black">
          <a:xfrm>
            <a:off x="624000" y="1484313"/>
            <a:ext cx="3456000" cy="4752000"/>
          </a:xfrm>
        </p:spPr>
        <p:txBody>
          <a:bodyPr>
            <a:noAutofit/>
          </a:bodyPr>
          <a:lstStyle/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7D9598B6-CEA7-42C6-8376-9C8FFAD9B4C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black">
          <a:xfrm>
            <a:off x="4368000" y="1484313"/>
            <a:ext cx="3456000" cy="4752000"/>
          </a:xfrm>
        </p:spPr>
        <p:txBody>
          <a:bodyPr>
            <a:noAutofit/>
          </a:bodyPr>
          <a:lstStyle/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508F3AD6-ECB1-46C4-8C4D-7E86183245A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black">
          <a:xfrm>
            <a:off x="8112000" y="1484313"/>
            <a:ext cx="3456000" cy="4752000"/>
          </a:xfrm>
        </p:spPr>
        <p:txBody>
          <a:bodyPr>
            <a:noAutofit/>
          </a:bodyPr>
          <a:lstStyle/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632E1087-7F1F-483A-8287-85903BD1AA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Kickoff DT Google Ericsson - Vienna 12.09.2022</a:t>
            </a:r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DE03A498-F349-4FBD-AA2E-188DFC5FA4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6C3F19D1-DB94-4590-97A5-4804E4DF6ED9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40270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BE4F56-CAAF-476E-A2B9-F1A0D25C8BAC}"/>
              </a:ext>
            </a:extLst>
          </p:cNvPr>
          <p:cNvSpPr>
            <a:spLocks noGrp="1"/>
          </p:cNvSpPr>
          <p:nvPr>
            <p:ph type="title" sz="quarter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Überschrift einzeilig 40pt (zweizeilig 24pt)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4B6057D-AA55-47BF-A331-2E2648C311B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black">
          <a:xfrm>
            <a:off x="624000" y="1484313"/>
            <a:ext cx="2520000" cy="4752000"/>
          </a:xfrm>
        </p:spPr>
        <p:txBody>
          <a:bodyPr>
            <a:noAutofit/>
          </a:bodyPr>
          <a:lstStyle/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D73B4FC-B74D-4CE7-B959-B58A486BFB4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black">
          <a:xfrm>
            <a:off x="3432000" y="1484313"/>
            <a:ext cx="2520000" cy="4752000"/>
          </a:xfrm>
        </p:spPr>
        <p:txBody>
          <a:bodyPr>
            <a:noAutofit/>
          </a:bodyPr>
          <a:lstStyle/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5C02444F-BCE5-47EE-A8CF-C44F258655A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black">
          <a:xfrm>
            <a:off x="6240000" y="1484313"/>
            <a:ext cx="2520000" cy="4752000"/>
          </a:xfrm>
        </p:spPr>
        <p:txBody>
          <a:bodyPr>
            <a:noAutofit/>
          </a:bodyPr>
          <a:lstStyle/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747D8B36-797B-4379-B1D3-EFD569BF81E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 bwMode="black">
          <a:xfrm>
            <a:off x="9048000" y="1484313"/>
            <a:ext cx="2520000" cy="4752000"/>
          </a:xfrm>
        </p:spPr>
        <p:txBody>
          <a:bodyPr>
            <a:noAutofit/>
          </a:bodyPr>
          <a:lstStyle/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6C65CFB4-A844-4779-A714-AD3EA88CC5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Kickoff DT Google Ericsson - Vienna 12.09.2022</a:t>
            </a:r>
          </a:p>
        </p:txBody>
      </p:sp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86CAAAA5-D5B7-4721-A124-3751412041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6C3F19D1-DB94-4590-97A5-4804E4DF6ED9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891269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 mit High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CF5EE6-FFD8-44FD-9C80-95B68F34D2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Überschrift einzeilig 40pt (zweizeilig 24pt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A968421-13D9-452E-9E1F-D6F5FE4699B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black">
          <a:xfrm>
            <a:off x="624000" y="1484313"/>
            <a:ext cx="3456000" cy="4752000"/>
          </a:xfrm>
        </p:spPr>
        <p:txBody>
          <a:bodyPr>
            <a:noAutofit/>
          </a:bodyPr>
          <a:lstStyle/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61FA861B-DD93-4B8B-8DB8-0BCD738A172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black">
          <a:xfrm>
            <a:off x="4368000" y="1484313"/>
            <a:ext cx="3456000" cy="4752000"/>
          </a:xfrm>
        </p:spPr>
        <p:txBody>
          <a:bodyPr>
            <a:noAutofit/>
          </a:bodyPr>
          <a:lstStyle/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9EED2250-7C4A-4786-AAFC-BA534599C4B9}"/>
              </a:ext>
            </a:extLst>
          </p:cNvPr>
          <p:cNvSpPr/>
          <p:nvPr/>
        </p:nvSpPr>
        <p:spPr bwMode="grayWhite">
          <a:xfrm>
            <a:off x="8112000" y="1485000"/>
            <a:ext cx="3456000" cy="5373000"/>
          </a:xfrm>
          <a:custGeom>
            <a:avLst/>
            <a:gdLst>
              <a:gd name="connsiteX0" fmla="*/ 521984 w 3456000"/>
              <a:gd name="connsiteY0" fmla="*/ 0 h 5373000"/>
              <a:gd name="connsiteX1" fmla="*/ 2933364 w 3456000"/>
              <a:gd name="connsiteY1" fmla="*/ 0 h 5373000"/>
              <a:gd name="connsiteX2" fmla="*/ 3455348 w 3456000"/>
              <a:gd name="connsiteY2" fmla="*/ 522636 h 5373000"/>
              <a:gd name="connsiteX3" fmla="*/ 3455348 w 3456000"/>
              <a:gd name="connsiteY3" fmla="*/ 1800000 h 5373000"/>
              <a:gd name="connsiteX4" fmla="*/ 3456000 w 3456000"/>
              <a:gd name="connsiteY4" fmla="*/ 1800000 h 5373000"/>
              <a:gd name="connsiteX5" fmla="*/ 3456000 w 3456000"/>
              <a:gd name="connsiteY5" fmla="*/ 5373000 h 5373000"/>
              <a:gd name="connsiteX6" fmla="*/ 0 w 3456000"/>
              <a:gd name="connsiteY6" fmla="*/ 5373000 h 5373000"/>
              <a:gd name="connsiteX7" fmla="*/ 0 w 3456000"/>
              <a:gd name="connsiteY7" fmla="*/ 4820371 h 5373000"/>
              <a:gd name="connsiteX8" fmla="*/ 0 w 3456000"/>
              <a:gd name="connsiteY8" fmla="*/ 1800000 h 5373000"/>
              <a:gd name="connsiteX9" fmla="*/ 0 w 3456000"/>
              <a:gd name="connsiteY9" fmla="*/ 522636 h 5373000"/>
              <a:gd name="connsiteX10" fmla="*/ 521984 w 3456000"/>
              <a:gd name="connsiteY10" fmla="*/ 0 h 537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456000" h="5373000">
                <a:moveTo>
                  <a:pt x="521984" y="0"/>
                </a:moveTo>
                <a:lnTo>
                  <a:pt x="2933364" y="0"/>
                </a:lnTo>
                <a:cubicBezTo>
                  <a:pt x="3223790" y="0"/>
                  <a:pt x="3455566" y="235469"/>
                  <a:pt x="3455348" y="522636"/>
                </a:cubicBezTo>
                <a:lnTo>
                  <a:pt x="3455348" y="1800000"/>
                </a:lnTo>
                <a:lnTo>
                  <a:pt x="3456000" y="1800000"/>
                </a:lnTo>
                <a:lnTo>
                  <a:pt x="3456000" y="5373000"/>
                </a:lnTo>
                <a:lnTo>
                  <a:pt x="0" y="5373000"/>
                </a:lnTo>
                <a:lnTo>
                  <a:pt x="0" y="4820371"/>
                </a:lnTo>
                <a:lnTo>
                  <a:pt x="0" y="1800000"/>
                </a:lnTo>
                <a:lnTo>
                  <a:pt x="0" y="522636"/>
                </a:lnTo>
                <a:cubicBezTo>
                  <a:pt x="0" y="231776"/>
                  <a:pt x="235251" y="0"/>
                  <a:pt x="521984" y="0"/>
                </a:cubicBezTo>
                <a:close/>
              </a:path>
            </a:pathLst>
          </a:custGeom>
          <a:solidFill>
            <a:srgbClr val="E20074"/>
          </a:solidFill>
          <a:ln w="2167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0FBB7A04-3353-4076-9E8F-DE76A27E2B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Kickoff DT Google Ericsson - Vienna 12.09.2022</a:t>
            </a:r>
          </a:p>
        </p:txBody>
      </p:sp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B36B2A9C-2AE1-4DF0-B0E2-1599F37C73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6C3F19D1-DB94-4590-97A5-4804E4DF6ED9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23268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mit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93F1334-0C30-417F-8C36-14E54C69E5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Überschrift einzeilig 40pt (zweizeilig 24pt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390C6A2-43FF-4452-B80E-84686F69C3A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black">
          <a:xfrm>
            <a:off x="624000" y="1484588"/>
            <a:ext cx="3456000" cy="4752000"/>
          </a:xfrm>
        </p:spPr>
        <p:txBody>
          <a:bodyPr>
            <a:noAutofit/>
          </a:bodyPr>
          <a:lstStyle/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2CA408DC-84BF-4622-883C-E5CF2D4C1F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Kickoff DT Google Ericsson - Vienna 12.09.2022</a:t>
            </a:r>
          </a:p>
        </p:txBody>
      </p:sp>
      <p:sp>
        <p:nvSpPr>
          <p:cNvPr id="10" name="Foliennummernplatzhalter 5">
            <a:extLst>
              <a:ext uri="{FF2B5EF4-FFF2-40B4-BE49-F238E27FC236}">
                <a16:creationId xmlns:a16="http://schemas.microsoft.com/office/drawing/2014/main" id="{16A0FC59-58B0-4C99-B9CE-643FCC7D75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6C3F19D1-DB94-4590-97A5-4804E4DF6ED9}" type="slidenum">
              <a:rPr lang="en-US" smtClean="0"/>
              <a:t>‹Nr.›</a:t>
            </a:fld>
            <a:endParaRPr lang="en-US"/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016A2F1E-AA29-4BA6-8F70-3BCCD073A91F}"/>
              </a:ext>
            </a:extLst>
          </p:cNvPr>
          <p:cNvSpPr/>
          <p:nvPr/>
        </p:nvSpPr>
        <p:spPr bwMode="grayWhite">
          <a:xfrm>
            <a:off x="4370020" y="1484999"/>
            <a:ext cx="7821980" cy="4257860"/>
          </a:xfrm>
          <a:custGeom>
            <a:avLst/>
            <a:gdLst>
              <a:gd name="connsiteX0" fmla="*/ 442664 w 7821980"/>
              <a:gd name="connsiteY0" fmla="*/ 0 h 4257860"/>
              <a:gd name="connsiteX1" fmla="*/ 7821980 w 7821980"/>
              <a:gd name="connsiteY1" fmla="*/ 0 h 4257860"/>
              <a:gd name="connsiteX2" fmla="*/ 7821980 w 7821980"/>
              <a:gd name="connsiteY2" fmla="*/ 4257860 h 4257860"/>
              <a:gd name="connsiteX3" fmla="*/ 442664 w 7821980"/>
              <a:gd name="connsiteY3" fmla="*/ 4257860 h 4257860"/>
              <a:gd name="connsiteX4" fmla="*/ 0 w 7821980"/>
              <a:gd name="connsiteY4" fmla="*/ 3814543 h 4257860"/>
              <a:gd name="connsiteX5" fmla="*/ 0 w 7821980"/>
              <a:gd name="connsiteY5" fmla="*/ 443317 h 4257860"/>
              <a:gd name="connsiteX6" fmla="*/ 442664 w 7821980"/>
              <a:gd name="connsiteY6" fmla="*/ 0 h 4257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821980" h="4257860">
                <a:moveTo>
                  <a:pt x="442664" y="0"/>
                </a:moveTo>
                <a:lnTo>
                  <a:pt x="7821980" y="0"/>
                </a:lnTo>
                <a:lnTo>
                  <a:pt x="7821980" y="4257860"/>
                </a:lnTo>
                <a:lnTo>
                  <a:pt x="442664" y="4257860"/>
                </a:lnTo>
                <a:cubicBezTo>
                  <a:pt x="196451" y="4257860"/>
                  <a:pt x="0" y="4057831"/>
                  <a:pt x="0" y="3814543"/>
                </a:cubicBezTo>
                <a:lnTo>
                  <a:pt x="0" y="443317"/>
                </a:lnTo>
                <a:cubicBezTo>
                  <a:pt x="0" y="196777"/>
                  <a:pt x="199378" y="0"/>
                  <a:pt x="442664" y="0"/>
                </a:cubicBezTo>
                <a:close/>
              </a:path>
            </a:pathLst>
          </a:custGeom>
          <a:solidFill>
            <a:srgbClr val="E20074"/>
          </a:solidFill>
          <a:ln w="301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8985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8F2A4CF4-F40B-4E8A-9194-82C4992C3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2529376" y="2925000"/>
            <a:ext cx="7742624" cy="2448000"/>
          </a:xfrm>
        </p:spPr>
        <p:txBody>
          <a:bodyPr anchor="ctr">
            <a:noAutofit/>
          </a:bodyPr>
          <a:lstStyle>
            <a:lvl1pPr marL="0" indent="0">
              <a:lnSpc>
                <a:spcPct val="80000"/>
              </a:lnSpc>
              <a:buFont typeface="+mn-lt" panose="020B0604020202020204" pitchFamily="34" charset="0"/>
              <a:buNone/>
              <a:defRPr sz="4000">
                <a:solidFill>
                  <a:schemeClr val="bg1"/>
                </a:solidFill>
                <a:latin typeface="+mj-lt"/>
              </a:defRPr>
            </a:lvl1pPr>
            <a:lvl2pPr marL="0" indent="0" algn="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Font typeface="+mn-lt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</a:defRPr>
            </a:lvl2pPr>
            <a:lvl3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4pPr>
            <a:lvl5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5pPr>
            <a:lvl6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6pPr>
            <a:lvl7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7pPr>
            <a:lvl8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8pPr>
            <a:lvl9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„Hier steht ein aussagekräftiges Zitat, mehrzeilig möglich“</a:t>
            </a:r>
          </a:p>
          <a:p>
            <a:pPr lvl="1"/>
            <a:r>
              <a:rPr lang="en-US"/>
              <a:t>– Autor*in</a:t>
            </a:r>
          </a:p>
        </p:txBody>
      </p: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7A44F123-0F06-457E-ACE5-ACFD7CF0BB0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6097097" cy="6858000"/>
          </a:xfrm>
          <a:custGeom>
            <a:avLst/>
            <a:gdLst>
              <a:gd name="connsiteX0" fmla="*/ 0 w 6097097"/>
              <a:gd name="connsiteY0" fmla="*/ 0 h 6858000"/>
              <a:gd name="connsiteX1" fmla="*/ 6097097 w 6097097"/>
              <a:gd name="connsiteY1" fmla="*/ 0 h 6858000"/>
              <a:gd name="connsiteX2" fmla="*/ 6097097 w 6097097"/>
              <a:gd name="connsiteY2" fmla="*/ 808991 h 6858000"/>
              <a:gd name="connsiteX3" fmla="*/ 5438531 w 6097097"/>
              <a:gd name="connsiteY3" fmla="*/ 1482091 h 6858000"/>
              <a:gd name="connsiteX4" fmla="*/ 1286265 w 6097097"/>
              <a:gd name="connsiteY4" fmla="*/ 1482091 h 6858000"/>
              <a:gd name="connsiteX5" fmla="*/ 627700 w 6097097"/>
              <a:gd name="connsiteY5" fmla="*/ 2155191 h 6858000"/>
              <a:gd name="connsiteX6" fmla="*/ 627700 w 6097097"/>
              <a:gd name="connsiteY6" fmla="*/ 6858000 h 6858000"/>
              <a:gd name="connsiteX7" fmla="*/ 0 w 6097097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7097" h="6858000">
                <a:moveTo>
                  <a:pt x="0" y="0"/>
                </a:moveTo>
                <a:lnTo>
                  <a:pt x="6097097" y="0"/>
                </a:lnTo>
                <a:lnTo>
                  <a:pt x="6097097" y="808991"/>
                </a:lnTo>
                <a:cubicBezTo>
                  <a:pt x="6097097" y="1181100"/>
                  <a:pt x="5802141" y="1482091"/>
                  <a:pt x="5438531" y="1482091"/>
                </a:cubicBezTo>
                <a:lnTo>
                  <a:pt x="1286265" y="1482091"/>
                </a:lnTo>
                <a:cubicBezTo>
                  <a:pt x="922656" y="1482091"/>
                  <a:pt x="627700" y="1783080"/>
                  <a:pt x="627700" y="2155191"/>
                </a:cubicBezTo>
                <a:lnTo>
                  <a:pt x="6277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1pPr>
            <a:lvl2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2pPr>
            <a:lvl3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4pPr>
            <a:lvl5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5pPr>
            <a:lvl6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6pPr>
            <a:lvl7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7pPr>
            <a:lvl8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8pPr>
            <a:lvl9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pPr marL="0" marR="0" lvl="4" indent="0" algn="ctr" defTabSz="179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+mn-lt" panose="020B0604020202020204" pitchFamily="34" charset="0"/>
              <a:buNone/>
              <a:tabLst/>
              <a:defRPr/>
            </a:pPr>
            <a:r>
              <a:rPr lang="en-US"/>
              <a:t>Weißer Hintergrund oder optional </a:t>
            </a:r>
            <a:br>
              <a:rPr lang="en-US"/>
            </a:br>
            <a:r>
              <a:rPr lang="en-US"/>
              <a:t>Verlauf als Bild reinladen</a:t>
            </a:r>
          </a:p>
        </p:txBody>
      </p:sp>
    </p:spTree>
    <p:extLst>
      <p:ext uri="{BB962C8B-B14F-4D97-AF65-F5344CB8AC3E}">
        <p14:creationId xmlns:p14="http://schemas.microsoft.com/office/powerpoint/2010/main" val="3516008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80">
          <p15:clr>
            <a:srgbClr val="FBAE40"/>
          </p15:clr>
        </p15:guide>
        <p15:guide id="3" orient="horz" pos="1324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3FB304-618D-40B7-940D-69DE27A219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Überschrift einzeilig 40pt (zweizeilig 24pt)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8C1C1B3-2B43-47F5-9FA0-80C6D4477A0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6240016" y="1484313"/>
            <a:ext cx="5953200" cy="4752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>
                <a:tab pos="2687638" algn="l"/>
              </a:tabLst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en-US"/>
              <a:t>Bild einfüg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B4C7612-0C84-4376-B998-B34EAE1F544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black">
          <a:xfrm>
            <a:off x="624000" y="1484313"/>
            <a:ext cx="5328000" cy="4752000"/>
          </a:xfrm>
        </p:spPr>
        <p:txBody>
          <a:bodyPr>
            <a:noAutofit/>
          </a:bodyPr>
          <a:lstStyle/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CE733019-59A1-468F-8149-C6BE014E07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Kickoff DT Google Ericsson - Vienna 12.09.2022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30900683-23B4-4E4B-8F6A-858470B778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6C3F19D1-DB94-4590-97A5-4804E4DF6ED9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874129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902E79-B5C3-4A51-9C68-88010755DD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Überschrift einzeilig 40pt (zweizeilig 24pt)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CD48E90-58F3-40B4-B97C-453785FBBAB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black">
          <a:xfrm>
            <a:off x="8112000" y="1484313"/>
            <a:ext cx="3456000" cy="4752000"/>
          </a:xfrm>
        </p:spPr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40AE5EC-538A-4BF1-ABC1-3EE1CF9C15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623392" y="1485312"/>
            <a:ext cx="7200561" cy="4752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lvl="4"/>
            <a:r>
              <a:rPr lang="en-US"/>
              <a:t>Bild einfügen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59951EB1-629C-43B1-A98C-6998C808B0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Kickoff DT Google Ericsson - Vienna 12.09.2022</a:t>
            </a: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F360C192-BE70-4805-9FEF-F274374B65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6C3F19D1-DB94-4590-97A5-4804E4DF6ED9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033078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58364E8-4ECD-4C26-A5E5-021E95A628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7921109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03">
    <p:bg>
      <p:bgPr>
        <a:gradFill>
          <a:gsLst>
            <a:gs pos="0">
              <a:srgbClr val="002060">
                <a:lumMod val="90000"/>
              </a:srgbClr>
            </a:gs>
            <a:gs pos="100000">
              <a:schemeClr val="tx1"/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4F48F58B-A7D8-4498-A74C-4D7FA8671D8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2" y="0"/>
            <a:ext cx="7282034" cy="6858000"/>
          </a:xfrm>
          <a:custGeom>
            <a:avLst/>
            <a:gdLst>
              <a:gd name="connsiteX0" fmla="*/ 0 w 7282034"/>
              <a:gd name="connsiteY0" fmla="*/ 0 h 6858000"/>
              <a:gd name="connsiteX1" fmla="*/ 7282034 w 7282034"/>
              <a:gd name="connsiteY1" fmla="*/ 0 h 6858000"/>
              <a:gd name="connsiteX2" fmla="*/ 7282034 w 7282034"/>
              <a:gd name="connsiteY2" fmla="*/ 630974 h 6858000"/>
              <a:gd name="connsiteX3" fmla="*/ 6567195 w 7282034"/>
              <a:gd name="connsiteY3" fmla="*/ 1478485 h 6858000"/>
              <a:gd name="connsiteX4" fmla="*/ 6485935 w 7282034"/>
              <a:gd name="connsiteY4" fmla="*/ 1482876 h 6858000"/>
              <a:gd name="connsiteX5" fmla="*/ 5163973 w 7282034"/>
              <a:gd name="connsiteY5" fmla="*/ 1482876 h 6858000"/>
              <a:gd name="connsiteX6" fmla="*/ 5163954 w 7282034"/>
              <a:gd name="connsiteY6" fmla="*/ 1482877 h 6858000"/>
              <a:gd name="connsiteX7" fmla="*/ 5092709 w 7282034"/>
              <a:gd name="connsiteY7" fmla="*/ 1482877 h 6858000"/>
              <a:gd name="connsiteX8" fmla="*/ 4296592 w 7282034"/>
              <a:gd name="connsiteY8" fmla="*/ 2334779 h 6858000"/>
              <a:gd name="connsiteX9" fmla="*/ 4296592 w 7282034"/>
              <a:gd name="connsiteY9" fmla="*/ 6858000 h 6858000"/>
              <a:gd name="connsiteX10" fmla="*/ 0 w 7282034"/>
              <a:gd name="connsiteY1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282034" h="6858000">
                <a:moveTo>
                  <a:pt x="0" y="0"/>
                </a:moveTo>
                <a:lnTo>
                  <a:pt x="7282034" y="0"/>
                </a:lnTo>
                <a:lnTo>
                  <a:pt x="7282034" y="630974"/>
                </a:lnTo>
                <a:cubicBezTo>
                  <a:pt x="7282034" y="1072616"/>
                  <a:pt x="6968122" y="1434922"/>
                  <a:pt x="6567195" y="1478485"/>
                </a:cubicBezTo>
                <a:lnTo>
                  <a:pt x="6485935" y="1482876"/>
                </a:lnTo>
                <a:lnTo>
                  <a:pt x="5163973" y="1482876"/>
                </a:lnTo>
                <a:lnTo>
                  <a:pt x="5163954" y="1482877"/>
                </a:lnTo>
                <a:lnTo>
                  <a:pt x="5092709" y="1482877"/>
                </a:lnTo>
                <a:cubicBezTo>
                  <a:pt x="4653755" y="1482877"/>
                  <a:pt x="4296592" y="1863694"/>
                  <a:pt x="4296592" y="2334779"/>
                </a:cubicBezTo>
                <a:lnTo>
                  <a:pt x="429659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20074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Add picture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04B637A3-33C5-4A94-B8A3-0C6F5F53D6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016000" y="1989000"/>
            <a:ext cx="6696000" cy="2448000"/>
          </a:xfrm>
        </p:spPr>
        <p:txBody>
          <a:bodyPr anchor="b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slide to separate chapters</a:t>
            </a:r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E119360A-7028-4033-BE23-C2EE0FCAA94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016000" y="4604513"/>
            <a:ext cx="6696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pPr marL="0" marR="0" lvl="4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+mn-lt" panose="05020102010507070707" pitchFamily="18" charset="2"/>
              <a:buNone/>
              <a:tabLst/>
              <a:defRPr/>
            </a:pPr>
            <a:r>
              <a:rPr lang="en-US" dirty="0"/>
              <a:t>Click to add further information</a:t>
            </a:r>
          </a:p>
        </p:txBody>
      </p:sp>
      <p:pic>
        <p:nvPicPr>
          <p:cNvPr id="6" name="Grafik 7">
            <a:extLst>
              <a:ext uri="{FF2B5EF4-FFF2-40B4-BE49-F238E27FC236}">
                <a16:creationId xmlns:a16="http://schemas.microsoft.com/office/drawing/2014/main" id="{B6BC37FC-BC69-4D6A-906D-0D1620F279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15600" y="5943600"/>
            <a:ext cx="1102443" cy="779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445430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ld mit 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58364E8-4ECD-4C26-A5E5-021E95A628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623888" y="0"/>
            <a:ext cx="11568112" cy="6858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35399603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SP_Background">
    <p:bg>
      <p:bgPr>
        <a:blipFill dpi="0" rotWithShape="1">
          <a:blip r:embed="rId4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BBD9C64-2AD6-4BFB-BC3E-5B718AB115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9086592"/>
              </p:ext>
            </p:extLst>
          </p:nvPr>
        </p:nvGraphicFramePr>
        <p:xfrm>
          <a:off x="1680" y="1680"/>
          <a:ext cx="1680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30" imgH="531" progId="TCLayout.ActiveDocument.1">
                  <p:embed/>
                </p:oleObj>
              </mc:Choice>
              <mc:Fallback>
                <p:oleObj name="think-cell Folie" r:id="rId5" imgW="530" imgH="5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BBD9C64-2AD6-4BFB-BC3E-5B718AB115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0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09E4C7C-A1D6-4EBA-A4A4-8C4AFDF82923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67980" cy="168006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48386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3386" b="0" i="0" baseline="0">
              <a:latin typeface="TeleGrotesk Headline Ultra" pitchFamily="2" charset="0"/>
              <a:ea typeface="+mj-ea"/>
              <a:cs typeface="Arial" charset="0"/>
              <a:sym typeface="TeleGrotesk Headline Ultra" pitchFamily="2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745CFC-E823-498D-8EF8-76F4A2D98A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559" y="266693"/>
            <a:ext cx="11504128" cy="53338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D6C9A07-1A55-46A7-A2DC-805AAB99FD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7730F1B-2882-4C57-A8AA-4667BF12F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A13754-8FE4-4B12-A310-4238E474416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352000" y="6385644"/>
            <a:ext cx="7488000" cy="324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/>
              <a:t>Kickoff DT Google Ericsson - Vienna 12.09.2022</a:t>
            </a:r>
          </a:p>
        </p:txBody>
      </p:sp>
    </p:spTree>
    <p:extLst>
      <p:ext uri="{BB962C8B-B14F-4D97-AF65-F5344CB8AC3E}">
        <p14:creationId xmlns:p14="http://schemas.microsoft.com/office/powerpoint/2010/main" val="42392314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95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902E79-B5C3-4A51-9C68-88010755DD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Headline short </a:t>
            </a:r>
            <a:r>
              <a:rPr lang="en-US" err="1"/>
              <a:t>40pt</a:t>
            </a:r>
            <a:r>
              <a:rPr lang="en-US"/>
              <a:t> (double-spaced headline </a:t>
            </a:r>
            <a:r>
              <a:rPr lang="en-US" err="1"/>
              <a:t>24pt</a:t>
            </a:r>
            <a:r>
              <a:rPr lang="en-US"/>
              <a:t>)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CD48E90-58F3-40B4-B97C-453785FBBAB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black">
          <a:xfrm>
            <a:off x="8112000" y="1484313"/>
            <a:ext cx="3456000" cy="4752000"/>
          </a:xfrm>
        </p:spPr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40AE5EC-538A-4BF1-ABC1-3EE1CF9C15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623392" y="1485312"/>
            <a:ext cx="7200561" cy="4752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lvl="4"/>
            <a:r>
              <a:rPr lang="en-US"/>
              <a:t>Add Picture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59951EB1-629C-43B1-A98C-6998C808B0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internal | Damir Golic, | GDCE benchmarking with Touchstone</a:t>
            </a: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F360C192-BE70-4805-9FEF-F274374B65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793984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long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5DB660-BEA6-4B99-9720-1536CF7D2DA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1198800" y="3481950"/>
            <a:ext cx="5544000" cy="1224000"/>
          </a:xfrm>
        </p:spPr>
        <p:txBody>
          <a:bodyPr lIns="0" bIns="0" anchor="b"/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4891937-CC24-41A9-9EB6-06AEE112B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198800" y="4869000"/>
            <a:ext cx="5544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r>
              <a:rPr lang="en-US"/>
              <a:t>Subtitle | Author | Place | Date</a:t>
            </a:r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D0926A59-3663-4198-92E6-B934EF65801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434300 w 12192000"/>
              <a:gd name="connsiteY3" fmla="*/ 6858000 h 6858000"/>
              <a:gd name="connsiteX4" fmla="*/ 7434300 w 12192000"/>
              <a:gd name="connsiteY4" fmla="*/ 3606644 h 6858000"/>
              <a:gd name="connsiteX5" fmla="*/ 6773352 w 12192000"/>
              <a:gd name="connsiteY5" fmla="*/ 2944524 h 6858000"/>
              <a:gd name="connsiteX6" fmla="*/ 3978934 w 12192000"/>
              <a:gd name="connsiteY6" fmla="*/ 2944524 h 6858000"/>
              <a:gd name="connsiteX7" fmla="*/ 3317987 w 12192000"/>
              <a:gd name="connsiteY7" fmla="*/ 2282405 h 6858000"/>
              <a:gd name="connsiteX8" fmla="*/ 3317987 w 12192000"/>
              <a:gd name="connsiteY8" fmla="*/ 2147119 h 6858000"/>
              <a:gd name="connsiteX9" fmla="*/ 2657041 w 12192000"/>
              <a:gd name="connsiteY9" fmla="*/ 1485000 h 6858000"/>
              <a:gd name="connsiteX10" fmla="*/ 1289697 w 12192000"/>
              <a:gd name="connsiteY10" fmla="*/ 1485000 h 6858000"/>
              <a:gd name="connsiteX11" fmla="*/ 628750 w 12192000"/>
              <a:gd name="connsiteY11" fmla="*/ 2147119 h 6858000"/>
              <a:gd name="connsiteX12" fmla="*/ 628750 w 12192000"/>
              <a:gd name="connsiteY12" fmla="*/ 5399178 h 6858000"/>
              <a:gd name="connsiteX13" fmla="*/ 100965 w 12192000"/>
              <a:gd name="connsiteY13" fmla="*/ 6047839 h 6858000"/>
              <a:gd name="connsiteX14" fmla="*/ 0 w 12192000"/>
              <a:gd name="connsiteY14" fmla="*/ 605804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434300" y="6858000"/>
                </a:lnTo>
                <a:lnTo>
                  <a:pt x="7434300" y="3606644"/>
                </a:lnTo>
                <a:cubicBezTo>
                  <a:pt x="7434300" y="3241112"/>
                  <a:pt x="7138236" y="2944524"/>
                  <a:pt x="6773352" y="2944524"/>
                </a:cubicBezTo>
                <a:lnTo>
                  <a:pt x="3978934" y="2944524"/>
                </a:lnTo>
                <a:cubicBezTo>
                  <a:pt x="3614051" y="2944524"/>
                  <a:pt x="3317987" y="2647936"/>
                  <a:pt x="3317987" y="2282405"/>
                </a:cubicBezTo>
                <a:lnTo>
                  <a:pt x="3317987" y="2147119"/>
                </a:lnTo>
                <a:cubicBezTo>
                  <a:pt x="3317987" y="1781588"/>
                  <a:pt x="3021925" y="1485000"/>
                  <a:pt x="2657041" y="1485000"/>
                </a:cubicBezTo>
                <a:lnTo>
                  <a:pt x="1289697" y="1485000"/>
                </a:lnTo>
                <a:cubicBezTo>
                  <a:pt x="924814" y="1485000"/>
                  <a:pt x="628750" y="1781588"/>
                  <a:pt x="628750" y="2147119"/>
                </a:cubicBezTo>
                <a:lnTo>
                  <a:pt x="628750" y="5399178"/>
                </a:lnTo>
                <a:cubicBezTo>
                  <a:pt x="628750" y="5719018"/>
                  <a:pt x="402077" y="5986073"/>
                  <a:pt x="100965" y="6047839"/>
                </a:cubicBezTo>
                <a:lnTo>
                  <a:pt x="0" y="605804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US"/>
              <a:t>Add picture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89A69EF6-EF93-45A3-A9B7-C46A6B4284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28666" y="5566887"/>
            <a:ext cx="3118173" cy="83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81423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221700B-8639-459A-9DB3-8908E707983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25773F91-952B-4027-A509-D0FC05D7DA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Headline short 40pt (2 lines 24pt/space 1)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1FD126-04E4-4103-B3F0-0C5F4BE146E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en-US"/>
              <a:t>&lt;Define details via Insert | Header and Footer&gt; confidential, internal, public | Author | Topic of presentation | Date</a:t>
            </a:r>
          </a:p>
        </p:txBody>
      </p:sp>
    </p:spTree>
    <p:extLst>
      <p:ext uri="{BB962C8B-B14F-4D97-AF65-F5344CB8AC3E}">
        <p14:creationId xmlns:p14="http://schemas.microsoft.com/office/powerpoint/2010/main" val="270268803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94D738FB-5E08-4EA9-9A8C-18178798F03C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457293" eaLnBrk="1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3386" b="0" i="0" baseline="0" err="1">
              <a:latin typeface="TeleGrotesk Next Ultra" pitchFamily="2" charset="0"/>
              <a:ea typeface="+mj-ea"/>
              <a:cs typeface="TeleGrotesk Next Ultra" pitchFamily="2" charset="0"/>
              <a:sym typeface="TeleGrotesk Next Ultra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2838" y="266693"/>
            <a:ext cx="11504128" cy="533386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err="1"/>
              <a:t>TeleGrotesk</a:t>
            </a:r>
            <a:r>
              <a:rPr lang="en-US"/>
              <a:t> Headline Ultra 28 (32)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168787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gradFill>
          <a:gsLst>
            <a:gs pos="0">
              <a:srgbClr val="002060">
                <a:lumMod val="90000"/>
              </a:srgbClr>
            </a:gs>
            <a:gs pos="100000">
              <a:schemeClr val="tx1"/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9085B700-7E7E-495E-8770-F2C0E4CC3FE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594714" y="0"/>
            <a:ext cx="6597286" cy="6858000"/>
          </a:xfrm>
          <a:custGeom>
            <a:avLst/>
            <a:gdLst>
              <a:gd name="connsiteX0" fmla="*/ 2651633 w 6597286"/>
              <a:gd name="connsiteY0" fmla="*/ 0 h 6858000"/>
              <a:gd name="connsiteX1" fmla="*/ 6597286 w 6597286"/>
              <a:gd name="connsiteY1" fmla="*/ 0 h 6858000"/>
              <a:gd name="connsiteX2" fmla="*/ 6597286 w 6597286"/>
              <a:gd name="connsiteY2" fmla="*/ 6858000 h 6858000"/>
              <a:gd name="connsiteX3" fmla="*/ 0 w 6597286"/>
              <a:gd name="connsiteY3" fmla="*/ 6858000 h 6858000"/>
              <a:gd name="connsiteX4" fmla="*/ 7452 w 6597286"/>
              <a:gd name="connsiteY4" fmla="*/ 6809170 h 6858000"/>
              <a:gd name="connsiteX5" fmla="*/ 885502 w 6597286"/>
              <a:gd name="connsiteY5" fmla="*/ 6093335 h 6858000"/>
              <a:gd name="connsiteX6" fmla="*/ 4140126 w 6597286"/>
              <a:gd name="connsiteY6" fmla="*/ 6093335 h 6858000"/>
              <a:gd name="connsiteX7" fmla="*/ 5036364 w 6597286"/>
              <a:gd name="connsiteY7" fmla="*/ 5172770 h 6858000"/>
              <a:gd name="connsiteX8" fmla="*/ 5036364 w 6597286"/>
              <a:gd name="connsiteY8" fmla="*/ 1590378 h 6858000"/>
              <a:gd name="connsiteX9" fmla="*/ 4140126 w 6597286"/>
              <a:gd name="connsiteY9" fmla="*/ 694140 h 6858000"/>
              <a:gd name="connsiteX10" fmla="*/ 3523003 w 6597286"/>
              <a:gd name="connsiteY10" fmla="*/ 694140 h 6858000"/>
              <a:gd name="connsiteX11" fmla="*/ 2697304 w 6597286"/>
              <a:gd name="connsiteY11" fmla="*/ 14697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597286" h="6858000">
                <a:moveTo>
                  <a:pt x="2651633" y="0"/>
                </a:moveTo>
                <a:lnTo>
                  <a:pt x="6597286" y="0"/>
                </a:lnTo>
                <a:lnTo>
                  <a:pt x="6597286" y="6858000"/>
                </a:lnTo>
                <a:lnTo>
                  <a:pt x="0" y="6858000"/>
                </a:lnTo>
                <a:lnTo>
                  <a:pt x="7452" y="6809170"/>
                </a:lnTo>
                <a:cubicBezTo>
                  <a:pt x="90931" y="6401137"/>
                  <a:pt x="451947" y="6093335"/>
                  <a:pt x="885502" y="6093335"/>
                </a:cubicBezTo>
                <a:lnTo>
                  <a:pt x="4140126" y="6093335"/>
                </a:lnTo>
                <a:cubicBezTo>
                  <a:pt x="4634338" y="6093335"/>
                  <a:pt x="5036364" y="5668262"/>
                  <a:pt x="5036364" y="5172770"/>
                </a:cubicBezTo>
                <a:lnTo>
                  <a:pt x="5036364" y="1590378"/>
                </a:lnTo>
                <a:cubicBezTo>
                  <a:pt x="5036364" y="1096167"/>
                  <a:pt x="4635618" y="694140"/>
                  <a:pt x="4140126" y="694140"/>
                </a:cubicBezTo>
                <a:lnTo>
                  <a:pt x="3523003" y="694140"/>
                </a:lnTo>
                <a:cubicBezTo>
                  <a:pt x="3152344" y="694140"/>
                  <a:pt x="2833540" y="468720"/>
                  <a:pt x="2697304" y="146974"/>
                </a:cubicBezTo>
                <a:close/>
              </a:path>
            </a:pathLst>
          </a:custGeom>
          <a:solidFill>
            <a:srgbClr val="E20074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pPr marL="0" marR="0" lvl="4" indent="0" algn="ctr" defTabSz="179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+mn-lt" panose="020B0604020202020204" pitchFamily="34" charset="0"/>
              <a:buNone/>
              <a:tabLst/>
              <a:defRPr/>
            </a:pPr>
            <a:r>
              <a:rPr lang="en-US" dirty="0"/>
              <a:t>White background or add </a:t>
            </a:r>
            <a:br>
              <a:rPr lang="en-US" dirty="0"/>
            </a:br>
            <a:r>
              <a:rPr lang="en-US" dirty="0"/>
              <a:t>gradient as a pictur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E672D56-15CA-4A30-BD95-1720D4510A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376" y="405000"/>
            <a:ext cx="5472000" cy="720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genda</a:t>
            </a:r>
          </a:p>
        </p:txBody>
      </p:sp>
      <p:pic>
        <p:nvPicPr>
          <p:cNvPr id="4" name="Grafik 7">
            <a:extLst>
              <a:ext uri="{FF2B5EF4-FFF2-40B4-BE49-F238E27FC236}">
                <a16:creationId xmlns:a16="http://schemas.microsoft.com/office/drawing/2014/main" id="{EA784F96-3FA3-4675-B51B-104E6D2E20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91800" y="5943600"/>
            <a:ext cx="1102443" cy="779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29321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351FED-C2FB-40B3-9812-6EDF2B43DC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line short 40pt (2 lines 24pt/space 1)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C186323F-21B0-414B-B738-0CBC5536F22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425" y="1485024"/>
            <a:ext cx="11233150" cy="4839576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DCAB5A7-FCF2-4304-9763-DF06FCF4452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82E0567-36A2-40E6-871A-F7CFABE600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18385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07BA7844-79FB-4134-9E27-FC31F6528B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line short 40pt (2 lines 24pt/space 1)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80907AE-8864-4AC0-A879-AAABC79A06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03CFAB5-4403-4D0D-B11A-024BAA76D3C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55133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07BA7844-79FB-4134-9E27-FC31F6528B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line short 40pt (2 lines 24pt/space 1)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80907AE-8864-4AC0-A879-AAABC79A06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03CFAB5-4403-4D0D-B11A-024BAA76D3C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20012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07BA7844-79FB-4134-9E27-FC31F6528B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line short 40pt (2 lines 24pt/space 1)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80907AE-8864-4AC0-A879-AAABC79A06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03CFAB5-4403-4D0D-B11A-024BAA76D3C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26618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3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26" Type="http://schemas.openxmlformats.org/officeDocument/2006/relationships/slideLayout" Target="../slideLayouts/slideLayout45.xml"/><Relationship Id="rId3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40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slideLayout" Target="../slideLayouts/slideLayout44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slideLayout" Target="../slideLayouts/slideLayout43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slideLayout" Target="../slideLayouts/slideLayout42.xml"/><Relationship Id="rId28" Type="http://schemas.openxmlformats.org/officeDocument/2006/relationships/tags" Target="../tags/tag1.xml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slideLayout" Target="../slideLayouts/slideLayout41.xml"/><Relationship Id="rId27" Type="http://schemas.openxmlformats.org/officeDocument/2006/relationships/theme" Target="../theme/theme2.xml"/><Relationship Id="rId30" Type="http://schemas.openxmlformats.org/officeDocument/2006/relationships/image" Target="../media/image6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gradFill>
          <a:gsLst>
            <a:gs pos="0">
              <a:srgbClr val="002060">
                <a:lumMod val="72000"/>
              </a:srgbClr>
            </a:gs>
            <a:gs pos="100000">
              <a:schemeClr val="tx1"/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152CBC3-B660-49EC-8CFF-BDC08B2D060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376" y="405000"/>
            <a:ext cx="11233248" cy="72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Headline short 40pt (2 lines 24pt/space 1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47DA143-B8D4-4CBA-A16E-07B0484BAAA6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9376" y="1484712"/>
            <a:ext cx="11233248" cy="48966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3E0E978-16D5-413F-A203-BAC957010E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472488" y="6453000"/>
            <a:ext cx="5247024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 kern="9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290EB52-2700-4288-B91E-A90263E48C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60624" y="6457875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A1A5E10D-79A5-49BA-9648-53481340C65F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39" name="Gerader Verbinder 34">
            <a:extLst>
              <a:ext uri="{FF2B5EF4-FFF2-40B4-BE49-F238E27FC236}">
                <a16:creationId xmlns:a16="http://schemas.microsoft.com/office/drawing/2014/main" id="{14C803C2-54F8-44FA-92F2-020B1F353F1D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50688" y="422672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4">
            <a:extLst>
              <a:ext uri="{FF2B5EF4-FFF2-40B4-BE49-F238E27FC236}">
                <a16:creationId xmlns:a16="http://schemas.microsoft.com/office/drawing/2014/main" id="{4B902B05-1723-406D-AA6C-F5057A006088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50688" y="1430712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34">
            <a:extLst>
              <a:ext uri="{FF2B5EF4-FFF2-40B4-BE49-F238E27FC236}">
                <a16:creationId xmlns:a16="http://schemas.microsoft.com/office/drawing/2014/main" id="{D6D29559-44C7-4941-896C-4CC7479D1C56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50688" y="6327328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28">
            <a:extLst>
              <a:ext uri="{FF2B5EF4-FFF2-40B4-BE49-F238E27FC236}">
                <a16:creationId xmlns:a16="http://schemas.microsoft.com/office/drawing/2014/main" id="{3159F292-8650-4011-8F79-F0F8445554F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952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29">
            <a:extLst>
              <a:ext uri="{FF2B5EF4-FFF2-40B4-BE49-F238E27FC236}">
                <a16:creationId xmlns:a16="http://schemas.microsoft.com/office/drawing/2014/main" id="{0AB2BE8A-7D23-4183-92E1-67974A2A48D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40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30">
            <a:extLst>
              <a:ext uri="{FF2B5EF4-FFF2-40B4-BE49-F238E27FC236}">
                <a16:creationId xmlns:a16="http://schemas.microsoft.com/office/drawing/2014/main" id="{0BA59727-F03E-4EC2-9B92-7D69C5F5132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896232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31">
            <a:extLst>
              <a:ext uri="{FF2B5EF4-FFF2-40B4-BE49-F238E27FC236}">
                <a16:creationId xmlns:a16="http://schemas.microsoft.com/office/drawing/2014/main" id="{32C65FE0-1662-4138-9EC0-2084F3C28B3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184232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32">
            <a:extLst>
              <a:ext uri="{FF2B5EF4-FFF2-40B4-BE49-F238E27FC236}">
                <a16:creationId xmlns:a16="http://schemas.microsoft.com/office/drawing/2014/main" id="{42888836-7369-4EBE-9C9E-BC058C8CD2B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007768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33">
            <a:extLst>
              <a:ext uri="{FF2B5EF4-FFF2-40B4-BE49-F238E27FC236}">
                <a16:creationId xmlns:a16="http://schemas.microsoft.com/office/drawing/2014/main" id="{F6F33C3B-02CE-4B5A-B9EB-599779C6DB7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295768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r Verbinder 34">
            <a:extLst>
              <a:ext uri="{FF2B5EF4-FFF2-40B4-BE49-F238E27FC236}">
                <a16:creationId xmlns:a16="http://schemas.microsoft.com/office/drawing/2014/main" id="{C344823A-990C-43BB-B408-74B9E1FE77B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07166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r Verbinder 35">
            <a:extLst>
              <a:ext uri="{FF2B5EF4-FFF2-40B4-BE49-F238E27FC236}">
                <a16:creationId xmlns:a16="http://schemas.microsoft.com/office/drawing/2014/main" id="{6EA706A0-6BB7-43C8-B37D-05491A7807E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35966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36">
            <a:extLst>
              <a:ext uri="{FF2B5EF4-FFF2-40B4-BE49-F238E27FC236}">
                <a16:creationId xmlns:a16="http://schemas.microsoft.com/office/drawing/2014/main" id="{42186059-4E4C-477D-9823-0FFE8C074BD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83233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r Verbinder 37">
            <a:extLst>
              <a:ext uri="{FF2B5EF4-FFF2-40B4-BE49-F238E27FC236}">
                <a16:creationId xmlns:a16="http://schemas.microsoft.com/office/drawing/2014/main" id="{4AA6CC68-3E73-4520-B2BF-0725CB4DEBD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12033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r Verbinder 34">
            <a:extLst>
              <a:ext uri="{FF2B5EF4-FFF2-40B4-BE49-F238E27FC236}">
                <a16:creationId xmlns:a16="http://schemas.microsoft.com/office/drawing/2014/main" id="{85A3413B-24C0-4ECC-8944-5D07079CD49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37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r Verbinder 37">
            <a:extLst>
              <a:ext uri="{FF2B5EF4-FFF2-40B4-BE49-F238E27FC236}">
                <a16:creationId xmlns:a16="http://schemas.microsoft.com/office/drawing/2014/main" id="{D99F39C2-4277-490B-8A1B-54EAF79A4C7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171262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Logo, icon, company name&#10;&#10;Description automatically generated">
            <a:extLst>
              <a:ext uri="{FF2B5EF4-FFF2-40B4-BE49-F238E27FC236}">
                <a16:creationId xmlns:a16="http://schemas.microsoft.com/office/drawing/2014/main" id="{A29CBF8E-0F0D-4351-9C48-79C975513066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569887" y="6324558"/>
            <a:ext cx="322977" cy="384497"/>
          </a:xfrm>
          <a:prstGeom prst="rect">
            <a:avLst/>
          </a:prstGeom>
        </p:spPr>
      </p:pic>
      <p:pic>
        <p:nvPicPr>
          <p:cNvPr id="23" name="Grafik 7">
            <a:extLst>
              <a:ext uri="{FF2B5EF4-FFF2-40B4-BE49-F238E27FC236}">
                <a16:creationId xmlns:a16="http://schemas.microsoft.com/office/drawing/2014/main" id="{93801598-8907-4532-ADBE-B8D610A2AF24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0439400" y="6127145"/>
            <a:ext cx="1102443" cy="779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5602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98" r:id="rId8"/>
    <p:sldLayoutId id="2147483699" r:id="rId9"/>
    <p:sldLayoutId id="2147483700" r:id="rId10"/>
    <p:sldLayoutId id="2147483701" r:id="rId11"/>
    <p:sldLayoutId id="2147483686" r:id="rId12"/>
    <p:sldLayoutId id="2147483687" r:id="rId13"/>
    <p:sldLayoutId id="2147483688" r:id="rId14"/>
    <p:sldLayoutId id="2147483689" r:id="rId15"/>
    <p:sldLayoutId id="2147483691" r:id="rId16"/>
    <p:sldLayoutId id="2147483692" r:id="rId17"/>
    <p:sldLayoutId id="2147483693" r:id="rId18"/>
    <p:sldLayoutId id="2147483694" r:id="rId1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800" kern="1200">
          <a:solidFill>
            <a:schemeClr val="bg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bg1"/>
          </a:solidFill>
          <a:latin typeface="+mn-lt"/>
          <a:ea typeface="+mn-ea"/>
          <a:cs typeface="+mn-cs"/>
        </a:defRPr>
      </a:lvl2pPr>
      <a:lvl3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28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576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6pPr>
      <a:lvl7pPr marL="720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7pPr>
      <a:lvl8pPr marL="86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8pPr>
      <a:lvl9pPr marL="100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4" orient="horz" pos="4020" userDrawn="1">
          <p15:clr>
            <a:srgbClr val="F26B43"/>
          </p15:clr>
        </p15:guide>
        <p15:guide id="6" orient="horz" pos="935" userDrawn="1">
          <p15:clr>
            <a:srgbClr val="F26B43"/>
          </p15:clr>
        </p15:guide>
        <p15:guide id="7" orient="horz" pos="30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ADE93DD-D9D5-4D58-8050-90707B30BE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395704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9" imgW="565" imgH="564" progId="TCLayout.ActiveDocument.1">
                  <p:embed/>
                </p:oleObj>
              </mc:Choice>
              <mc:Fallback>
                <p:oleObj name="think-cell Folie" r:id="rId29" imgW="565" imgH="56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ADE93DD-D9D5-4D58-8050-90707B30BE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152CBC3-B660-49EC-8CFF-BDC08B2D060E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624000" y="405000"/>
            <a:ext cx="10944000" cy="72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Überschrift einzeilig </a:t>
            </a:r>
            <a:r>
              <a:rPr lang="de-DE" err="1"/>
              <a:t>40pt</a:t>
            </a:r>
            <a:r>
              <a:rPr lang="de-DE"/>
              <a:t> (zweizeilig </a:t>
            </a:r>
            <a:r>
              <a:rPr lang="de-DE" err="1"/>
              <a:t>24pt</a:t>
            </a:r>
            <a:r>
              <a:rPr lang="de-DE"/>
              <a:t>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47DA143-B8D4-4CBA-A16E-07B0484BAAA6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624000" y="1484712"/>
            <a:ext cx="10944000" cy="47522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  <a:p>
            <a:pPr lvl="4"/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290EB52-2700-4288-B91E-A90263E48C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6C3F19D1-DB94-4590-97A5-4804E4DF6ED9}" type="slidenum">
              <a:rPr lang="en-US" smtClean="0"/>
              <a:t>‹Nr.›</a:t>
            </a:fld>
            <a:endParaRPr lang="en-US"/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DA91C881-79AB-458F-954C-383AF8B01604}"/>
              </a:ext>
            </a:extLst>
          </p:cNvPr>
          <p:cNvCxnSpPr>
            <a:cxnSpLocks/>
          </p:cNvCxnSpPr>
          <p:nvPr/>
        </p:nvCxnSpPr>
        <p:spPr bwMode="gray">
          <a:xfrm>
            <a:off x="5952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7C98D975-7445-4F99-9B52-E358E568C5A3}"/>
              </a:ext>
            </a:extLst>
          </p:cNvPr>
          <p:cNvCxnSpPr>
            <a:cxnSpLocks/>
          </p:cNvCxnSpPr>
          <p:nvPr/>
        </p:nvCxnSpPr>
        <p:spPr bwMode="gray">
          <a:xfrm>
            <a:off x="6240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DF551706-39BC-4EE7-A735-192BD09A0001}"/>
              </a:ext>
            </a:extLst>
          </p:cNvPr>
          <p:cNvCxnSpPr>
            <a:cxnSpLocks/>
          </p:cNvCxnSpPr>
          <p:nvPr/>
        </p:nvCxnSpPr>
        <p:spPr bwMode="gray">
          <a:xfrm>
            <a:off x="7824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2A0A7869-3F34-4E75-A064-BE3F44A63406}"/>
              </a:ext>
            </a:extLst>
          </p:cNvPr>
          <p:cNvCxnSpPr>
            <a:cxnSpLocks/>
          </p:cNvCxnSpPr>
          <p:nvPr/>
        </p:nvCxnSpPr>
        <p:spPr bwMode="gray">
          <a:xfrm>
            <a:off x="8112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A4177ED2-DC6D-4DA2-AF57-22AD5C7A4FCC}"/>
              </a:ext>
            </a:extLst>
          </p:cNvPr>
          <p:cNvCxnSpPr>
            <a:cxnSpLocks/>
          </p:cNvCxnSpPr>
          <p:nvPr/>
        </p:nvCxnSpPr>
        <p:spPr bwMode="gray">
          <a:xfrm>
            <a:off x="4080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4CAD1D89-EB95-4550-A35C-0A1D9DD17A31}"/>
              </a:ext>
            </a:extLst>
          </p:cNvPr>
          <p:cNvCxnSpPr>
            <a:cxnSpLocks/>
          </p:cNvCxnSpPr>
          <p:nvPr/>
        </p:nvCxnSpPr>
        <p:spPr bwMode="gray">
          <a:xfrm>
            <a:off x="4368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9E47EBE1-63C9-4FBE-B681-22B45511EEE3}"/>
              </a:ext>
            </a:extLst>
          </p:cNvPr>
          <p:cNvCxnSpPr>
            <a:cxnSpLocks/>
          </p:cNvCxnSpPr>
          <p:nvPr/>
        </p:nvCxnSpPr>
        <p:spPr bwMode="gray">
          <a:xfrm>
            <a:off x="3144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3621EA9F-5C5D-4AF2-9740-37FE244799E2}"/>
              </a:ext>
            </a:extLst>
          </p:cNvPr>
          <p:cNvCxnSpPr>
            <a:cxnSpLocks/>
          </p:cNvCxnSpPr>
          <p:nvPr/>
        </p:nvCxnSpPr>
        <p:spPr bwMode="gray">
          <a:xfrm>
            <a:off x="3432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D1EF1E0F-30B7-4B13-96AD-E88084E80D49}"/>
              </a:ext>
            </a:extLst>
          </p:cNvPr>
          <p:cNvCxnSpPr>
            <a:cxnSpLocks/>
          </p:cNvCxnSpPr>
          <p:nvPr/>
        </p:nvCxnSpPr>
        <p:spPr bwMode="gray">
          <a:xfrm>
            <a:off x="8760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508FA7B9-8179-4FDE-890A-1A9E21FC445D}"/>
              </a:ext>
            </a:extLst>
          </p:cNvPr>
          <p:cNvCxnSpPr>
            <a:cxnSpLocks/>
          </p:cNvCxnSpPr>
          <p:nvPr/>
        </p:nvCxnSpPr>
        <p:spPr bwMode="gray">
          <a:xfrm>
            <a:off x="9048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97120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  <p:sldLayoutId id="2147483718" r:id="rId16"/>
    <p:sldLayoutId id="2147483719" r:id="rId17"/>
    <p:sldLayoutId id="2147483720" r:id="rId18"/>
    <p:sldLayoutId id="2147483721" r:id="rId19"/>
    <p:sldLayoutId id="2147483722" r:id="rId20"/>
    <p:sldLayoutId id="2147483723" r:id="rId21"/>
    <p:sldLayoutId id="2147483724" r:id="rId22"/>
    <p:sldLayoutId id="2147483725" r:id="rId23"/>
    <p:sldLayoutId id="2147483726" r:id="rId24"/>
    <p:sldLayoutId id="2147483727" r:id="rId25"/>
    <p:sldLayoutId id="2147483728" r:id="rId2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8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76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86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0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4" orient="horz" pos="3929">
          <p15:clr>
            <a:srgbClr val="F26B43"/>
          </p15:clr>
        </p15:guide>
        <p15:guide id="5" pos="3840">
          <p15:clr>
            <a:srgbClr val="F26B43"/>
          </p15:clr>
        </p15:guide>
        <p15:guide id="6" orient="horz" pos="93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5.jpe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6.x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13.jpg"/><Relationship Id="rId9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AFD525-8EC9-1925-C3C4-54F06DC03D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hallway with many servers&#10;&#10;Description automatically generated">
            <a:extLst>
              <a:ext uri="{FF2B5EF4-FFF2-40B4-BE49-F238E27FC236}">
                <a16:creationId xmlns:a16="http://schemas.microsoft.com/office/drawing/2014/main" id="{CF326C58-1D98-C1D3-000B-F71668C992F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0" y="0"/>
            <a:ext cx="12190240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341AA8-2866-34F5-88B5-1D6B4033BF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341AA8-2866-34F5-88B5-1D6B4033BF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4">
            <a:extLst>
              <a:ext uri="{FF2B5EF4-FFF2-40B4-BE49-F238E27FC236}">
                <a16:creationId xmlns:a16="http://schemas.microsoft.com/office/drawing/2014/main" id="{3192EFED-BD9B-8740-949D-D3BC1522F7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298" y="3948652"/>
            <a:ext cx="11070121" cy="1224000"/>
          </a:xfrm>
        </p:spPr>
        <p:txBody>
          <a:bodyPr vert="horz" anchor="t"/>
          <a:lstStyle/>
          <a:p>
            <a:pPr eaLnBrk="0" fontAlgn="base" hangingPunct="0"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dirty="0"/>
              <a:t>Last update on </a:t>
            </a:r>
            <a:r>
              <a:rPr lang="en-US" dirty="0" err="1"/>
              <a:t>cLab</a:t>
            </a:r>
            <a:r>
              <a:rPr lang="en-US" dirty="0"/>
              <a:t> development…</a:t>
            </a:r>
            <a:br>
              <a:rPr lang="en-US" sz="4000" dirty="0"/>
            </a:br>
            <a:r>
              <a:rPr lang="en-US" sz="2000" dirty="0"/>
              <a:t>Marin Komadina, Automation and Orchestration Platform  </a:t>
            </a:r>
            <a:br>
              <a:rPr lang="de-DE" dirty="0">
                <a:solidFill>
                  <a:srgbClr val="FFFFFF"/>
                </a:solidFill>
                <a:latin typeface="Tele-GroteskUlt" pitchFamily="2" charset="0"/>
              </a:rPr>
            </a:br>
            <a:br>
              <a:rPr lang="de-DE" dirty="0">
                <a:solidFill>
                  <a:srgbClr val="FFFFFF"/>
                </a:solidFill>
                <a:latin typeface="Tele-GroteskUlt" pitchFamily="2" charset="0"/>
              </a:rPr>
            </a:br>
            <a:br>
              <a:rPr lang="de-DE" dirty="0">
                <a:solidFill>
                  <a:srgbClr val="FFFFFF"/>
                </a:solidFill>
                <a:latin typeface="Tele-GroteskUlt" pitchFamily="2" charset="0"/>
              </a:rPr>
            </a:br>
            <a:endParaRPr lang="en-US" sz="4000" dirty="0">
              <a:solidFill>
                <a:srgbClr val="FFFFFF"/>
              </a:solidFill>
              <a:latin typeface="Tele-GroteskUlt" pitchFamily="2" charset="0"/>
            </a:endParaRP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34F375D0-9932-6A7B-F510-4EF665C898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98800" y="4920652"/>
            <a:ext cx="5544000" cy="504000"/>
          </a:xfrm>
        </p:spPr>
        <p:txBody>
          <a:bodyPr/>
          <a:lstStyle/>
          <a:p>
            <a:r>
              <a:rPr lang="de-DE" dirty="0" err="1">
                <a:solidFill>
                  <a:srgbClr val="FFFFFF"/>
                </a:solidFill>
                <a:latin typeface="Tele-GroteskUlt" pitchFamily="2" charset="0"/>
              </a:rPr>
              <a:t>Weeks</a:t>
            </a:r>
            <a:r>
              <a:rPr lang="de-DE" dirty="0">
                <a:solidFill>
                  <a:srgbClr val="FFFFFF"/>
                </a:solidFill>
                <a:latin typeface="Tele-GroteskUlt" pitchFamily="2" charset="0"/>
              </a:rPr>
              <a:t> 26-29 2023.</a:t>
            </a:r>
            <a:endParaRPr lang="en-US" dirty="0"/>
          </a:p>
        </p:txBody>
      </p:sp>
      <p:pic>
        <p:nvPicPr>
          <p:cNvPr id="14" name="Picture Placeholder 13" descr="No image&#10;&#10;Description automatically generated">
            <a:extLst>
              <a:ext uri="{FF2B5EF4-FFF2-40B4-BE49-F238E27FC236}">
                <a16:creationId xmlns:a16="http://schemas.microsoft.com/office/drawing/2014/main" id="{17FC0A31-2673-0A95-C159-FA8A6137005F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" r="32"/>
          <a:stretch>
            <a:fillRect/>
          </a:stretch>
        </p:blipFill>
        <p:spPr>
          <a:xfrm>
            <a:off x="-880" y="11468"/>
            <a:ext cx="12192000" cy="6858000"/>
          </a:xfrm>
        </p:spPr>
      </p:pic>
      <p:sp>
        <p:nvSpPr>
          <p:cNvPr id="10" name="Titel 1">
            <a:extLst>
              <a:ext uri="{FF2B5EF4-FFF2-40B4-BE49-F238E27FC236}">
                <a16:creationId xmlns:a16="http://schemas.microsoft.com/office/drawing/2014/main" id="{C8538D7A-4D3F-B813-F27C-4238BA28225D}"/>
              </a:ext>
            </a:extLst>
          </p:cNvPr>
          <p:cNvSpPr txBox="1">
            <a:spLocks/>
          </p:cNvSpPr>
          <p:nvPr/>
        </p:nvSpPr>
        <p:spPr bwMode="black">
          <a:xfrm>
            <a:off x="880" y="3680923"/>
            <a:ext cx="12191120" cy="1605515"/>
          </a:xfrm>
          <a:prstGeom prst="rect">
            <a:avLst/>
          </a:prstGeom>
          <a:solidFill>
            <a:schemeClr val="tx2"/>
          </a:solidFill>
        </p:spPr>
        <p:txBody>
          <a:bodyPr vert="horz" lIns="64008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leNeo Office ExtraBold"/>
                <a:ea typeface="+mj-ea"/>
                <a:cs typeface="+mj-cs"/>
              </a:rPr>
              <a:t> CNF to infra dependencies</a:t>
            </a: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leNeo Office ExtraBold"/>
              <a:ea typeface="+mj-ea"/>
              <a:cs typeface="+mj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7C0AADF-5298-A748-462B-8486D3F19A2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136587" y="4759254"/>
            <a:ext cx="1910181" cy="413398"/>
          </a:xfrm>
          <a:prstGeom prst="rect">
            <a:avLst/>
          </a:prstGeom>
        </p:spPr>
      </p:pic>
      <p:pic>
        <p:nvPicPr>
          <p:cNvPr id="5" name="Grafik 9">
            <a:extLst>
              <a:ext uri="{FF2B5EF4-FFF2-40B4-BE49-F238E27FC236}">
                <a16:creationId xmlns:a16="http://schemas.microsoft.com/office/drawing/2014/main" id="{09278B9F-6008-C4D2-F230-434FC86F482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4665" y="3964629"/>
            <a:ext cx="1038101" cy="1038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3448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8C9C8B2-54F9-EABC-FBA4-6423E14604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NF cluster templates</a:t>
            </a:r>
            <a:endParaRPr lang="hu-H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19C1D7-845C-72F7-7F2B-888CE2CC7F7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1A5E10D-79A5-49BA-9648-53481340C65F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E4C5BDA9-596F-DA5A-050C-5CFA1A9843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7608" y="1089626"/>
            <a:ext cx="6810549" cy="5536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38410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8C9C8B2-54F9-EABC-FBA4-6423E14604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visioning Operator</a:t>
            </a:r>
            <a:endParaRPr lang="hu-H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19C1D7-845C-72F7-7F2B-888CE2CC7F7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1A5E10D-79A5-49BA-9648-53481340C65F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14" name="Inhaltsplatzhalter 13">
            <a:extLst>
              <a:ext uri="{FF2B5EF4-FFF2-40B4-BE49-F238E27FC236}">
                <a16:creationId xmlns:a16="http://schemas.microsoft.com/office/drawing/2014/main" id="{B53E1E8F-09BD-F4C8-21AB-ECBA2FFF8386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1271464" y="1132603"/>
            <a:ext cx="9505056" cy="5077289"/>
          </a:xfrm>
        </p:spPr>
      </p:pic>
    </p:spTree>
    <p:extLst>
      <p:ext uri="{BB962C8B-B14F-4D97-AF65-F5344CB8AC3E}">
        <p14:creationId xmlns:p14="http://schemas.microsoft.com/office/powerpoint/2010/main" val="32305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8C9C8B2-54F9-EABC-FBA4-6423E14604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ll list of features</a:t>
            </a:r>
            <a:endParaRPr lang="hu-H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19C1D7-845C-72F7-7F2B-888CE2CC7F7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1A5E10D-79A5-49BA-9648-53481340C65F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8015E0C3-1FE4-FDE3-8FD3-AD7B8A4B3C22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07368" y="1149790"/>
            <a:ext cx="3528000" cy="4764088"/>
          </a:xfrm>
        </p:spPr>
        <p:txBody>
          <a:bodyPr/>
          <a:lstStyle/>
          <a:p>
            <a:r>
              <a:rPr lang="de-DE" sz="1100" dirty="0"/>
              <a:t>Infrastructure Management (OpenStack + Bare </a:t>
            </a:r>
            <a:r>
              <a:rPr lang="de-DE" sz="1100" dirty="0" err="1"/>
              <a:t>Metal</a:t>
            </a:r>
            <a:r>
              <a:rPr lang="de-DE" sz="1100" dirty="0"/>
              <a:t>)</a:t>
            </a:r>
            <a:br>
              <a:rPr lang="de-DE" sz="1100" dirty="0"/>
            </a:br>
            <a:r>
              <a:rPr lang="de-DE" sz="1100" dirty="0"/>
              <a:t> </a:t>
            </a:r>
            <a:r>
              <a:rPr lang="de-DE" sz="1100" dirty="0">
                <a:latin typeface="+mn-lt"/>
              </a:rPr>
              <a:t>The </a:t>
            </a:r>
            <a:r>
              <a:rPr lang="de-DE" sz="1100" dirty="0" err="1">
                <a:latin typeface="+mn-lt"/>
              </a:rPr>
              <a:t>operator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manages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the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full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lifecycle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of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Kubernetes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clusters</a:t>
            </a:r>
            <a:r>
              <a:rPr lang="de-DE" sz="1100" dirty="0">
                <a:latin typeface="+mn-lt"/>
              </a:rPr>
              <a:t> on </a:t>
            </a:r>
            <a:r>
              <a:rPr lang="de-DE" sz="1100" dirty="0" err="1">
                <a:latin typeface="+mn-lt"/>
              </a:rPr>
              <a:t>both</a:t>
            </a:r>
            <a:r>
              <a:rPr lang="de-DE" sz="1100" dirty="0">
                <a:latin typeface="+mn-lt"/>
              </a:rPr>
              <a:t> OpenStack and Bare </a:t>
            </a:r>
            <a:r>
              <a:rPr lang="de-DE" sz="1100" dirty="0" err="1">
                <a:latin typeface="+mn-lt"/>
              </a:rPr>
              <a:t>Metal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infrastructure</a:t>
            </a:r>
            <a:r>
              <a:rPr lang="de-DE" sz="1100" dirty="0">
                <a:latin typeface="+mn-lt"/>
              </a:rPr>
              <a:t> via Cluster API (CAPI). </a:t>
            </a:r>
            <a:r>
              <a:rPr lang="de-DE" sz="1100" dirty="0" err="1">
                <a:latin typeface="+mn-lt"/>
              </a:rPr>
              <a:t>From</a:t>
            </a:r>
            <a:r>
              <a:rPr lang="de-DE" sz="1100" dirty="0">
                <a:latin typeface="+mn-lt"/>
              </a:rPr>
              <a:t> a </a:t>
            </a:r>
            <a:r>
              <a:rPr lang="de-DE" sz="1100" dirty="0" err="1">
                <a:latin typeface="+mn-lt"/>
              </a:rPr>
              <a:t>single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CaasCluster</a:t>
            </a:r>
            <a:r>
              <a:rPr lang="de-DE" sz="1100" dirty="0">
                <a:latin typeface="+mn-lt"/>
              </a:rPr>
              <a:t> CR, </a:t>
            </a:r>
            <a:r>
              <a:rPr lang="de-DE" sz="1100" dirty="0" err="1">
                <a:latin typeface="+mn-lt"/>
              </a:rPr>
              <a:t>it</a:t>
            </a:r>
            <a:br>
              <a:rPr lang="de-DE" sz="1100" dirty="0">
                <a:latin typeface="+mn-lt"/>
              </a:rPr>
            </a:br>
            <a:r>
              <a:rPr lang="de-DE" sz="1100" dirty="0">
                <a:latin typeface="+mn-lt"/>
              </a:rPr>
              <a:t>  </a:t>
            </a:r>
            <a:r>
              <a:rPr lang="de-DE" sz="1100" dirty="0" err="1">
                <a:latin typeface="+mn-lt"/>
              </a:rPr>
              <a:t>automatically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creates</a:t>
            </a:r>
            <a:r>
              <a:rPr lang="de-DE" sz="1100" dirty="0">
                <a:latin typeface="+mn-lt"/>
              </a:rPr>
              <a:t> and </a:t>
            </a:r>
            <a:r>
              <a:rPr lang="de-DE" sz="1100" dirty="0" err="1">
                <a:latin typeface="+mn-lt"/>
              </a:rPr>
              <a:t>reconciles</a:t>
            </a:r>
            <a:r>
              <a:rPr lang="de-DE" sz="1100" dirty="0">
                <a:latin typeface="+mn-lt"/>
              </a:rPr>
              <a:t>:</a:t>
            </a:r>
            <a:br>
              <a:rPr lang="de-DE" sz="1100" dirty="0">
                <a:latin typeface="+mn-lt"/>
              </a:rPr>
            </a:br>
            <a:r>
              <a:rPr lang="de-DE" sz="1100" dirty="0">
                <a:latin typeface="+mn-lt"/>
              </a:rPr>
              <a:t>  OpenStack </a:t>
            </a:r>
            <a:r>
              <a:rPr lang="de-DE" sz="1100" dirty="0" err="1">
                <a:latin typeface="+mn-lt"/>
              </a:rPr>
              <a:t>resources</a:t>
            </a:r>
            <a:r>
              <a:rPr lang="de-DE" sz="1100" dirty="0">
                <a:latin typeface="+mn-lt"/>
              </a:rPr>
              <a:t>:</a:t>
            </a:r>
            <a:br>
              <a:rPr lang="de-DE" sz="1100" dirty="0">
                <a:latin typeface="+mn-lt"/>
              </a:rPr>
            </a:br>
            <a:r>
              <a:rPr lang="de-DE" sz="1100" dirty="0">
                <a:latin typeface="+mn-lt"/>
              </a:rPr>
              <a:t>   - OpenStack User (via Juice API)</a:t>
            </a:r>
            <a:br>
              <a:rPr lang="de-DE" sz="1100" dirty="0">
                <a:latin typeface="+mn-lt"/>
              </a:rPr>
            </a:br>
            <a:r>
              <a:rPr lang="de-DE" sz="1100" dirty="0">
                <a:latin typeface="+mn-lt"/>
              </a:rPr>
              <a:t>   - OpenStack Project (</a:t>
            </a:r>
            <a:r>
              <a:rPr lang="de-DE" sz="1100" dirty="0" err="1">
                <a:latin typeface="+mn-lt"/>
              </a:rPr>
              <a:t>tenant</a:t>
            </a:r>
            <a:r>
              <a:rPr lang="de-DE" sz="1100" dirty="0">
                <a:latin typeface="+mn-lt"/>
              </a:rPr>
              <a:t>) </a:t>
            </a:r>
            <a:r>
              <a:rPr lang="de-DE" sz="1100" dirty="0" err="1">
                <a:latin typeface="+mn-lt"/>
              </a:rPr>
              <a:t>with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quotas</a:t>
            </a:r>
            <a:br>
              <a:rPr lang="de-DE" sz="1100" dirty="0">
                <a:latin typeface="+mn-lt"/>
              </a:rPr>
            </a:br>
            <a:r>
              <a:rPr lang="de-DE" sz="1100" dirty="0">
                <a:latin typeface="+mn-lt"/>
              </a:rPr>
              <a:t>   - OpenStack Flavors (</a:t>
            </a:r>
            <a:r>
              <a:rPr lang="de-DE" sz="1100" dirty="0" err="1">
                <a:latin typeface="+mn-lt"/>
              </a:rPr>
              <a:t>master</a:t>
            </a:r>
            <a:r>
              <a:rPr lang="de-DE" sz="1100" dirty="0">
                <a:latin typeface="+mn-lt"/>
              </a:rPr>
              <a:t>, </a:t>
            </a:r>
            <a:r>
              <a:rPr lang="de-DE" sz="1100" dirty="0" err="1">
                <a:latin typeface="+mn-lt"/>
              </a:rPr>
              <a:t>worker</a:t>
            </a:r>
            <a:r>
              <a:rPr lang="de-DE" sz="1100" dirty="0">
                <a:latin typeface="+mn-lt"/>
              </a:rPr>
              <a:t>, medium, large, </a:t>
            </a:r>
            <a:r>
              <a:rPr lang="de-DE" sz="1100" dirty="0" err="1">
                <a:latin typeface="+mn-lt"/>
              </a:rPr>
              <a:t>xlarge</a:t>
            </a:r>
            <a:r>
              <a:rPr lang="de-DE" sz="1100" dirty="0">
                <a:latin typeface="+mn-lt"/>
              </a:rPr>
              <a:t>, </a:t>
            </a:r>
            <a:r>
              <a:rPr lang="de-DE" sz="1100" dirty="0" err="1">
                <a:latin typeface="+mn-lt"/>
              </a:rPr>
              <a:t>xxlarge</a:t>
            </a:r>
            <a:r>
              <a:rPr lang="de-DE" sz="1100" dirty="0">
                <a:latin typeface="+mn-lt"/>
              </a:rPr>
              <a:t>)</a:t>
            </a:r>
            <a:br>
              <a:rPr lang="de-DE" sz="1100" dirty="0">
                <a:latin typeface="+mn-lt"/>
              </a:rPr>
            </a:br>
            <a:r>
              <a:rPr lang="de-DE" sz="1100" dirty="0">
                <a:latin typeface="+mn-lt"/>
              </a:rPr>
              <a:t>   - OpenStack Images (</a:t>
            </a:r>
            <a:r>
              <a:rPr lang="de-DE" sz="1100" dirty="0" err="1">
                <a:latin typeface="+mn-lt"/>
              </a:rPr>
              <a:t>control</a:t>
            </a:r>
            <a:r>
              <a:rPr lang="de-DE" sz="1100" dirty="0">
                <a:latin typeface="+mn-lt"/>
              </a:rPr>
              <a:t> plane &amp; </a:t>
            </a:r>
            <a:r>
              <a:rPr lang="de-DE" sz="1100" dirty="0" err="1">
                <a:latin typeface="+mn-lt"/>
              </a:rPr>
              <a:t>worker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images</a:t>
            </a:r>
            <a:r>
              <a:rPr lang="de-DE" sz="1100" dirty="0">
                <a:latin typeface="+mn-lt"/>
              </a:rPr>
              <a:t>, </a:t>
            </a:r>
            <a:r>
              <a:rPr lang="de-DE" sz="1100" dirty="0" err="1">
                <a:latin typeface="+mn-lt"/>
              </a:rPr>
              <a:t>with</a:t>
            </a:r>
            <a:r>
              <a:rPr lang="de-DE" sz="1100" dirty="0">
                <a:latin typeface="+mn-lt"/>
              </a:rPr>
              <a:t> MD5 </a:t>
            </a:r>
            <a:r>
              <a:rPr lang="de-DE" sz="1100" dirty="0" err="1">
                <a:latin typeface="+mn-lt"/>
              </a:rPr>
              <a:t>verification</a:t>
            </a:r>
            <a:r>
              <a:rPr lang="de-DE" sz="1100" dirty="0">
                <a:latin typeface="+mn-lt"/>
              </a:rPr>
              <a:t>)</a:t>
            </a:r>
            <a:br>
              <a:rPr lang="de-DE" sz="1100" dirty="0">
                <a:latin typeface="+mn-lt"/>
              </a:rPr>
            </a:br>
            <a:r>
              <a:rPr lang="de-DE" sz="1100" dirty="0">
                <a:latin typeface="+mn-lt"/>
              </a:rPr>
              <a:t>   - OpenStack Networks, </a:t>
            </a:r>
            <a:r>
              <a:rPr lang="de-DE" sz="1100" dirty="0" err="1">
                <a:latin typeface="+mn-lt"/>
              </a:rPr>
              <a:t>Subnets</a:t>
            </a:r>
            <a:r>
              <a:rPr lang="de-DE" sz="1100" dirty="0">
                <a:latin typeface="+mn-lt"/>
              </a:rPr>
              <a:t>, Routers</a:t>
            </a:r>
            <a:br>
              <a:rPr lang="de-DE" sz="1100" dirty="0">
                <a:latin typeface="+mn-lt"/>
              </a:rPr>
            </a:br>
            <a:r>
              <a:rPr lang="de-DE" sz="1100" dirty="0">
                <a:latin typeface="+mn-lt"/>
              </a:rPr>
              <a:t>   - OpenStack Floating IPs</a:t>
            </a:r>
            <a:br>
              <a:rPr lang="de-DE" sz="1100" dirty="0">
                <a:latin typeface="+mn-lt"/>
              </a:rPr>
            </a:br>
            <a:r>
              <a:rPr lang="de-DE" sz="1100" dirty="0">
                <a:latin typeface="+mn-lt"/>
              </a:rPr>
              <a:t>   - OpenStack Security Groups</a:t>
            </a:r>
            <a:br>
              <a:rPr lang="de-DE" sz="1100" dirty="0">
                <a:latin typeface="+mn-lt"/>
              </a:rPr>
            </a:br>
            <a:r>
              <a:rPr lang="de-DE" sz="1100" dirty="0">
                <a:latin typeface="+mn-lt"/>
              </a:rPr>
              <a:t>   - OpenStack Server Groups (anti-</a:t>
            </a:r>
            <a:r>
              <a:rPr lang="de-DE" sz="1100" dirty="0" err="1">
                <a:latin typeface="+mn-lt"/>
              </a:rPr>
              <a:t>affinity</a:t>
            </a:r>
            <a:r>
              <a:rPr lang="de-DE" sz="1100" dirty="0">
                <a:latin typeface="+mn-lt"/>
              </a:rPr>
              <a:t>)</a:t>
            </a:r>
            <a:br>
              <a:rPr lang="de-DE" sz="1100" dirty="0">
                <a:latin typeface="+mn-lt"/>
              </a:rPr>
            </a:br>
            <a:r>
              <a:rPr lang="de-DE" sz="1100" dirty="0">
                <a:latin typeface="+mn-lt"/>
              </a:rPr>
              <a:t>   - OpenStack Ports (</a:t>
            </a:r>
            <a:r>
              <a:rPr lang="de-DE" sz="1100" dirty="0" err="1">
                <a:latin typeface="+mn-lt"/>
              </a:rPr>
              <a:t>including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trunk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ports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with</a:t>
            </a:r>
            <a:r>
              <a:rPr lang="de-DE" sz="1100" dirty="0">
                <a:latin typeface="+mn-lt"/>
              </a:rPr>
              <a:t> sub-</a:t>
            </a:r>
            <a:r>
              <a:rPr lang="de-DE" sz="1100" dirty="0" err="1">
                <a:latin typeface="+mn-lt"/>
              </a:rPr>
              <a:t>ports</a:t>
            </a:r>
            <a:r>
              <a:rPr lang="de-DE" sz="1100" dirty="0">
                <a:latin typeface="+mn-lt"/>
              </a:rPr>
              <a:t>)</a:t>
            </a:r>
            <a:br>
              <a:rPr lang="de-DE" sz="1100" dirty="0">
                <a:latin typeface="+mn-lt"/>
              </a:rPr>
            </a:br>
            <a:r>
              <a:rPr lang="de-DE" sz="1100" dirty="0">
                <a:latin typeface="+mn-lt"/>
              </a:rPr>
              <a:t>   - OpenStack </a:t>
            </a:r>
            <a:r>
              <a:rPr lang="de-DE" sz="1100" dirty="0" err="1">
                <a:latin typeface="+mn-lt"/>
              </a:rPr>
              <a:t>Quota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management</a:t>
            </a:r>
            <a:r>
              <a:rPr lang="de-DE" sz="1100" dirty="0">
                <a:latin typeface="+mn-lt"/>
              </a:rPr>
              <a:t> (auto-</a:t>
            </a:r>
            <a:r>
              <a:rPr lang="de-DE" sz="1100" dirty="0" err="1">
                <a:latin typeface="+mn-lt"/>
              </a:rPr>
              <a:t>adjusted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based</a:t>
            </a:r>
            <a:r>
              <a:rPr lang="de-DE" sz="1100" dirty="0">
                <a:latin typeface="+mn-lt"/>
              </a:rPr>
              <a:t> on </a:t>
            </a:r>
            <a:r>
              <a:rPr lang="de-DE" sz="1100" dirty="0" err="1">
                <a:latin typeface="+mn-lt"/>
              </a:rPr>
              <a:t>cluster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needs</a:t>
            </a:r>
            <a:r>
              <a:rPr lang="de-DE" sz="1100" dirty="0">
                <a:latin typeface="+mn-lt"/>
              </a:rPr>
              <a:t>)</a:t>
            </a:r>
            <a:br>
              <a:rPr lang="de-DE" sz="1100" dirty="0">
                <a:latin typeface="+mn-lt"/>
              </a:rPr>
            </a:br>
            <a:r>
              <a:rPr lang="de-DE" sz="1100" dirty="0"/>
              <a:t> Bare </a:t>
            </a:r>
            <a:r>
              <a:rPr lang="de-DE" sz="1100" dirty="0" err="1"/>
              <a:t>Metal</a:t>
            </a:r>
            <a:r>
              <a:rPr lang="de-DE" sz="1100" dirty="0"/>
              <a:t> </a:t>
            </a:r>
            <a:r>
              <a:rPr lang="de-DE" sz="1100" dirty="0" err="1"/>
              <a:t>resources</a:t>
            </a:r>
            <a:r>
              <a:rPr lang="de-DE" sz="1100" dirty="0"/>
              <a:t>:</a:t>
            </a:r>
            <a:br>
              <a:rPr lang="de-DE" sz="1100" dirty="0"/>
            </a:br>
            <a:r>
              <a:rPr lang="de-DE" sz="1100" dirty="0"/>
              <a:t> </a:t>
            </a:r>
            <a:r>
              <a:rPr lang="de-DE" sz="1100" dirty="0">
                <a:latin typeface="+mn-lt"/>
              </a:rPr>
              <a:t>  - DCIM (</a:t>
            </a:r>
            <a:r>
              <a:rPr lang="de-DE" sz="1100" dirty="0" err="1">
                <a:latin typeface="+mn-lt"/>
              </a:rPr>
              <a:t>NetBox</a:t>
            </a:r>
            <a:r>
              <a:rPr lang="de-DE" sz="1100" dirty="0">
                <a:latin typeface="+mn-lt"/>
              </a:rPr>
              <a:t>) </a:t>
            </a:r>
            <a:r>
              <a:rPr lang="de-DE" sz="1100" dirty="0" err="1">
                <a:latin typeface="+mn-lt"/>
              </a:rPr>
              <a:t>integration</a:t>
            </a:r>
            <a:r>
              <a:rPr lang="de-DE" sz="1100" dirty="0">
                <a:latin typeface="+mn-lt"/>
              </a:rPr>
              <a:t> — </a:t>
            </a:r>
            <a:r>
              <a:rPr lang="de-DE" sz="1100" dirty="0" err="1">
                <a:latin typeface="+mn-lt"/>
              </a:rPr>
              <a:t>discovers</a:t>
            </a:r>
            <a:r>
              <a:rPr lang="de-DE" sz="1100" dirty="0">
                <a:latin typeface="+mn-lt"/>
              </a:rPr>
              <a:t> and </a:t>
            </a:r>
            <a:r>
              <a:rPr lang="de-DE" sz="1100" dirty="0" err="1">
                <a:latin typeface="+mn-lt"/>
              </a:rPr>
              <a:t>reserves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physical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servers</a:t>
            </a:r>
            <a:br>
              <a:rPr lang="de-DE" sz="1100" dirty="0">
                <a:latin typeface="+mn-lt"/>
              </a:rPr>
            </a:br>
            <a:r>
              <a:rPr lang="de-DE" sz="1100" dirty="0">
                <a:latin typeface="+mn-lt"/>
              </a:rPr>
              <a:t>   - </a:t>
            </a:r>
            <a:r>
              <a:rPr lang="de-DE" sz="1100" dirty="0" err="1">
                <a:latin typeface="+mn-lt"/>
              </a:rPr>
              <a:t>Redfish</a:t>
            </a:r>
            <a:r>
              <a:rPr lang="de-DE" sz="1100" dirty="0">
                <a:latin typeface="+mn-lt"/>
              </a:rPr>
              <a:t>/BMC support (Lenovo and HP </a:t>
            </a:r>
            <a:r>
              <a:rPr lang="de-DE" sz="1100" dirty="0" err="1">
                <a:latin typeface="+mn-lt"/>
              </a:rPr>
              <a:t>servers</a:t>
            </a:r>
            <a:r>
              <a:rPr lang="de-DE" sz="1100" dirty="0">
                <a:latin typeface="+mn-lt"/>
              </a:rPr>
              <a:t>)</a:t>
            </a:r>
            <a:br>
              <a:rPr lang="de-DE" sz="1100" dirty="0">
                <a:latin typeface="+mn-lt"/>
              </a:rPr>
            </a:br>
            <a:r>
              <a:rPr lang="de-DE" sz="1100" dirty="0">
                <a:latin typeface="+mn-lt"/>
              </a:rPr>
              <a:t>   - Deploy </a:t>
            </a:r>
            <a:r>
              <a:rPr lang="de-DE" sz="1100" dirty="0" err="1">
                <a:latin typeface="+mn-lt"/>
              </a:rPr>
              <a:t>image</a:t>
            </a:r>
            <a:r>
              <a:rPr lang="de-DE" sz="1100" dirty="0">
                <a:latin typeface="+mn-lt"/>
              </a:rPr>
              <a:t> (ISO) </a:t>
            </a:r>
            <a:r>
              <a:rPr lang="de-DE" sz="1100" dirty="0" err="1">
                <a:latin typeface="+mn-lt"/>
              </a:rPr>
              <a:t>generation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for</a:t>
            </a:r>
            <a:r>
              <a:rPr lang="de-DE" sz="1100" dirty="0">
                <a:latin typeface="+mn-lt"/>
              </a:rPr>
              <a:t> PXE/bare-</a:t>
            </a:r>
            <a:r>
              <a:rPr lang="de-DE" sz="1100" dirty="0" err="1">
                <a:latin typeface="+mn-lt"/>
              </a:rPr>
              <a:t>metal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provisioning</a:t>
            </a:r>
            <a:br>
              <a:rPr lang="de-DE" sz="1100" dirty="0">
                <a:latin typeface="+mn-lt"/>
              </a:rPr>
            </a:br>
            <a:r>
              <a:rPr lang="de-DE" sz="1100" dirty="0">
                <a:latin typeface="+mn-lt"/>
              </a:rPr>
              <a:t>   - </a:t>
            </a:r>
            <a:r>
              <a:rPr lang="de-DE" sz="1100" dirty="0" err="1">
                <a:latin typeface="+mn-lt"/>
              </a:rPr>
              <a:t>Ramdisk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commands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for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pre</a:t>
            </a:r>
            <a:r>
              <a:rPr lang="de-DE" sz="1100" dirty="0">
                <a:latin typeface="+mn-lt"/>
              </a:rPr>
              <a:t>-boot </a:t>
            </a:r>
            <a:r>
              <a:rPr lang="de-DE" sz="1100" dirty="0" err="1">
                <a:latin typeface="+mn-lt"/>
              </a:rPr>
              <a:t>customization</a:t>
            </a:r>
            <a:br>
              <a:rPr lang="de-DE" sz="1100" dirty="0">
                <a:latin typeface="+mn-lt"/>
              </a:rPr>
            </a:br>
            <a:r>
              <a:rPr lang="de-DE" sz="1100" dirty="0">
                <a:latin typeface="+mn-lt"/>
              </a:rPr>
              <a:t>   - Disk </a:t>
            </a:r>
            <a:r>
              <a:rPr lang="de-DE" sz="1100" dirty="0" err="1">
                <a:latin typeface="+mn-lt"/>
              </a:rPr>
              <a:t>selection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by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minimum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size</a:t>
            </a:r>
            <a:r>
              <a:rPr lang="de-DE" sz="1100" dirty="0">
                <a:latin typeface="+mn-lt"/>
              </a:rPr>
              <a:t> (</a:t>
            </a:r>
            <a:r>
              <a:rPr lang="de-DE" sz="1100" dirty="0" err="1">
                <a:latin typeface="+mn-lt"/>
              </a:rPr>
              <a:t>minDiskSize</a:t>
            </a:r>
            <a:r>
              <a:rPr lang="de-DE" sz="1100" dirty="0">
                <a:latin typeface="+mn-lt"/>
              </a:rPr>
              <a:t>)</a:t>
            </a:r>
            <a:br>
              <a:rPr lang="de-DE" sz="1100" dirty="0">
                <a:latin typeface="+mn-lt"/>
              </a:rPr>
            </a:br>
            <a:r>
              <a:rPr lang="de-DE" sz="1100" dirty="0">
                <a:latin typeface="+mn-lt"/>
              </a:rPr>
              <a:t>   - </a:t>
            </a:r>
            <a:r>
              <a:rPr lang="de-DE" sz="1100" dirty="0" err="1">
                <a:latin typeface="+mn-lt"/>
              </a:rPr>
              <a:t>Failure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domain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balancing</a:t>
            </a:r>
            <a:r>
              <a:rPr lang="de-DE" sz="1100" dirty="0">
                <a:latin typeface="+mn-lt"/>
              </a:rPr>
              <a:t> (</a:t>
            </a:r>
            <a:r>
              <a:rPr lang="de-DE" sz="1100" dirty="0" err="1">
                <a:latin typeface="+mn-lt"/>
              </a:rPr>
              <a:t>none</a:t>
            </a:r>
            <a:r>
              <a:rPr lang="de-DE" sz="1100" dirty="0">
                <a:latin typeface="+mn-lt"/>
              </a:rPr>
              <a:t>, best-</a:t>
            </a:r>
            <a:r>
              <a:rPr lang="de-DE" sz="1100" dirty="0" err="1">
                <a:latin typeface="+mn-lt"/>
              </a:rPr>
              <a:t>effort</a:t>
            </a:r>
            <a:r>
              <a:rPr lang="de-DE" sz="1100" dirty="0">
                <a:latin typeface="+mn-lt"/>
              </a:rPr>
              <a:t>, </a:t>
            </a:r>
            <a:r>
              <a:rPr lang="de-DE" sz="1100" dirty="0" err="1">
                <a:latin typeface="+mn-lt"/>
              </a:rPr>
              <a:t>strict</a:t>
            </a:r>
            <a:r>
              <a:rPr lang="de-DE" sz="1100" dirty="0">
                <a:latin typeface="+mn-lt"/>
              </a:rPr>
              <a:t>) </a:t>
            </a:r>
            <a:r>
              <a:rPr lang="de-DE" sz="1100" dirty="0" err="1">
                <a:latin typeface="+mn-lt"/>
              </a:rPr>
              <a:t>across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availability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zones</a:t>
            </a:r>
            <a:endParaRPr lang="de-DE" sz="1100" dirty="0">
              <a:latin typeface="+mn-lt"/>
            </a:endParaRPr>
          </a:p>
        </p:txBody>
      </p:sp>
      <p:sp>
        <p:nvSpPr>
          <p:cNvPr id="8" name="Inhaltsplatzhalter 6">
            <a:extLst>
              <a:ext uri="{FF2B5EF4-FFF2-40B4-BE49-F238E27FC236}">
                <a16:creationId xmlns:a16="http://schemas.microsoft.com/office/drawing/2014/main" id="{061A0FDE-2D28-A23D-59B4-DEFF5F85BF5E}"/>
              </a:ext>
            </a:extLst>
          </p:cNvPr>
          <p:cNvSpPr txBox="1">
            <a:spLocks/>
          </p:cNvSpPr>
          <p:nvPr/>
        </p:nvSpPr>
        <p:spPr bwMode="gray">
          <a:xfrm>
            <a:off x="4061868" y="1124585"/>
            <a:ext cx="3528000" cy="47640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dirty="0"/>
              <a:t>Networking</a:t>
            </a:r>
            <a:br>
              <a:rPr lang="de-DE" sz="1100" dirty="0"/>
            </a:br>
            <a:r>
              <a:rPr lang="de-DE" sz="1100" dirty="0"/>
              <a:t> </a:t>
            </a:r>
            <a:r>
              <a:rPr lang="de-DE" sz="1100" dirty="0">
                <a:latin typeface="+mn-lt"/>
              </a:rPr>
              <a:t>The </a:t>
            </a:r>
            <a:r>
              <a:rPr lang="de-DE" sz="1100" dirty="0" err="1">
                <a:latin typeface="+mn-lt"/>
              </a:rPr>
              <a:t>operator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has</a:t>
            </a:r>
            <a:r>
              <a:rPr lang="de-DE" sz="1100" dirty="0">
                <a:latin typeface="+mn-lt"/>
              </a:rPr>
              <a:t> a </a:t>
            </a:r>
            <a:r>
              <a:rPr lang="de-DE" sz="1100" dirty="0" err="1">
                <a:latin typeface="+mn-lt"/>
              </a:rPr>
              <a:t>very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rich</a:t>
            </a:r>
            <a:r>
              <a:rPr lang="de-DE" sz="1100" dirty="0">
                <a:latin typeface="+mn-lt"/>
              </a:rPr>
              <a:t>, </a:t>
            </a:r>
            <a:r>
              <a:rPr lang="de-DE" sz="1100" dirty="0" err="1">
                <a:latin typeface="+mn-lt"/>
              </a:rPr>
              <a:t>declarative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networking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model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with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these</a:t>
            </a:r>
            <a:r>
              <a:rPr lang="de-DE" sz="1100" dirty="0">
                <a:latin typeface="+mn-lt"/>
              </a:rPr>
              <a:t> network </a:t>
            </a:r>
            <a:r>
              <a:rPr lang="de-DE" sz="1100" dirty="0" err="1">
                <a:latin typeface="+mn-lt"/>
              </a:rPr>
              <a:t>provider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types</a:t>
            </a:r>
            <a:r>
              <a:rPr lang="de-DE" sz="1100" dirty="0">
                <a:latin typeface="+mn-lt"/>
              </a:rPr>
              <a:t>:</a:t>
            </a:r>
            <a:br>
              <a:rPr lang="de-DE" sz="1100" dirty="0">
                <a:latin typeface="+mn-lt"/>
              </a:rPr>
            </a:br>
            <a:r>
              <a:rPr lang="de-DE" sz="1100" dirty="0">
                <a:latin typeface="+mn-lt"/>
              </a:rPr>
              <a:t>   - Multiple </a:t>
            </a:r>
            <a:r>
              <a:rPr lang="de-DE" sz="1100" dirty="0" err="1">
                <a:latin typeface="+mn-lt"/>
              </a:rPr>
              <a:t>networks</a:t>
            </a:r>
            <a:r>
              <a:rPr lang="de-DE" sz="1100" dirty="0">
                <a:latin typeface="+mn-lt"/>
              </a:rPr>
              <a:t> per </a:t>
            </a:r>
            <a:r>
              <a:rPr lang="de-DE" sz="1100" dirty="0" err="1">
                <a:latin typeface="+mn-lt"/>
              </a:rPr>
              <a:t>cluster</a:t>
            </a:r>
            <a:r>
              <a:rPr lang="de-DE" sz="1100" dirty="0">
                <a:latin typeface="+mn-lt"/>
              </a:rPr>
              <a:t> (e.g., separate DTH, OAM, </a:t>
            </a:r>
            <a:r>
              <a:rPr lang="de-DE" sz="1100" dirty="0" err="1">
                <a:latin typeface="+mn-lt"/>
              </a:rPr>
              <a:t>internet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networks</a:t>
            </a:r>
            <a:r>
              <a:rPr lang="de-DE" sz="1100" dirty="0">
                <a:latin typeface="+mn-lt"/>
              </a:rPr>
              <a:t>)</a:t>
            </a:r>
            <a:br>
              <a:rPr lang="de-DE" sz="1100" dirty="0">
                <a:latin typeface="+mn-lt"/>
              </a:rPr>
            </a:br>
            <a:r>
              <a:rPr lang="de-DE" sz="1100" dirty="0">
                <a:latin typeface="+mn-lt"/>
              </a:rPr>
              <a:t>   - Per-</a:t>
            </a:r>
            <a:r>
              <a:rPr lang="de-DE" sz="1100" dirty="0" err="1">
                <a:latin typeface="+mn-lt"/>
              </a:rPr>
              <a:t>worker</a:t>
            </a:r>
            <a:r>
              <a:rPr lang="de-DE" sz="1100" dirty="0">
                <a:latin typeface="+mn-lt"/>
              </a:rPr>
              <a:t>-group </a:t>
            </a:r>
            <a:r>
              <a:rPr lang="de-DE" sz="1100" dirty="0" err="1">
                <a:latin typeface="+mn-lt"/>
              </a:rPr>
              <a:t>networking</a:t>
            </a:r>
            <a:r>
              <a:rPr lang="de-DE" sz="1100" dirty="0">
                <a:latin typeface="+mn-lt"/>
              </a:rPr>
              <a:t> — different network </a:t>
            </a:r>
            <a:r>
              <a:rPr lang="de-DE" sz="1100" dirty="0" err="1">
                <a:latin typeface="+mn-lt"/>
              </a:rPr>
              <a:t>configs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for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control</a:t>
            </a:r>
            <a:r>
              <a:rPr lang="de-DE" sz="1100" dirty="0">
                <a:latin typeface="+mn-lt"/>
              </a:rPr>
              <a:t> plane </a:t>
            </a:r>
            <a:r>
              <a:rPr lang="de-DE" sz="1100" dirty="0" err="1">
                <a:latin typeface="+mn-lt"/>
              </a:rPr>
              <a:t>vs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each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worker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group</a:t>
            </a:r>
            <a:br>
              <a:rPr lang="de-DE" sz="1100" dirty="0">
                <a:latin typeface="+mn-lt"/>
              </a:rPr>
            </a:br>
            <a:r>
              <a:rPr lang="de-DE" sz="1100" dirty="0">
                <a:latin typeface="+mn-lt"/>
              </a:rPr>
              <a:t>   - Network </a:t>
            </a:r>
            <a:r>
              <a:rPr lang="de-DE" sz="1100" dirty="0" err="1">
                <a:latin typeface="+mn-lt"/>
              </a:rPr>
              <a:t>Profiles</a:t>
            </a:r>
            <a:r>
              <a:rPr lang="de-DE" sz="1100" dirty="0">
                <a:latin typeface="+mn-lt"/>
              </a:rPr>
              <a:t> — </a:t>
            </a:r>
            <a:r>
              <a:rPr lang="de-DE" sz="1100" dirty="0" err="1">
                <a:latin typeface="+mn-lt"/>
              </a:rPr>
              <a:t>reusable</a:t>
            </a:r>
            <a:r>
              <a:rPr lang="de-DE" sz="1100" dirty="0">
                <a:latin typeface="+mn-lt"/>
              </a:rPr>
              <a:t>, </a:t>
            </a:r>
            <a:r>
              <a:rPr lang="de-DE" sz="1100" dirty="0" err="1">
                <a:latin typeface="+mn-lt"/>
              </a:rPr>
              <a:t>immutable</a:t>
            </a:r>
            <a:r>
              <a:rPr lang="de-DE" sz="1100" dirty="0">
                <a:latin typeface="+mn-lt"/>
              </a:rPr>
              <a:t> network </a:t>
            </a:r>
            <a:r>
              <a:rPr lang="de-DE" sz="1100" dirty="0" err="1">
                <a:latin typeface="+mn-lt"/>
              </a:rPr>
              <a:t>templates</a:t>
            </a:r>
            <a:r>
              <a:rPr lang="de-DE" sz="1100" dirty="0">
                <a:latin typeface="+mn-lt"/>
              </a:rPr>
              <a:t> (</a:t>
            </a:r>
            <a:r>
              <a:rPr lang="de-DE" sz="1100" dirty="0" err="1">
                <a:latin typeface="+mn-lt"/>
              </a:rPr>
              <a:t>NetworkProfile</a:t>
            </a:r>
            <a:r>
              <a:rPr lang="de-DE" sz="1100" dirty="0">
                <a:latin typeface="+mn-lt"/>
              </a:rPr>
              <a:t> CRD)</a:t>
            </a:r>
            <a:br>
              <a:rPr lang="de-DE" sz="1100" dirty="0">
                <a:latin typeface="+mn-lt"/>
              </a:rPr>
            </a:br>
            <a:r>
              <a:rPr lang="de-DE" sz="1100" dirty="0">
                <a:latin typeface="+mn-lt"/>
              </a:rPr>
              <a:t>   - </a:t>
            </a:r>
            <a:r>
              <a:rPr lang="de-DE" sz="1100" dirty="0" err="1">
                <a:latin typeface="+mn-lt"/>
              </a:rPr>
              <a:t>Templating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with</a:t>
            </a:r>
            <a:r>
              <a:rPr lang="de-DE" sz="1100" dirty="0">
                <a:latin typeface="+mn-lt"/>
              </a:rPr>
              <a:t> {{ .</a:t>
            </a:r>
            <a:r>
              <a:rPr lang="de-DE" sz="1100" dirty="0" err="1">
                <a:latin typeface="+mn-lt"/>
              </a:rPr>
              <a:t>ClusterName</a:t>
            </a:r>
            <a:r>
              <a:rPr lang="de-DE" sz="1100" dirty="0">
                <a:latin typeface="+mn-lt"/>
              </a:rPr>
              <a:t> }}, {{ .</a:t>
            </a:r>
            <a:r>
              <a:rPr lang="de-DE" sz="1100" dirty="0" err="1">
                <a:latin typeface="+mn-lt"/>
              </a:rPr>
              <a:t>MachineName</a:t>
            </a:r>
            <a:r>
              <a:rPr lang="de-DE" sz="1100" dirty="0">
                <a:latin typeface="+mn-lt"/>
              </a:rPr>
              <a:t> }} and {{ (</a:t>
            </a:r>
            <a:r>
              <a:rPr lang="de-DE" sz="1100" dirty="0" err="1">
                <a:latin typeface="+mn-lt"/>
              </a:rPr>
              <a:t>get</a:t>
            </a:r>
            <a:r>
              <a:rPr lang="de-DE" sz="1100" dirty="0">
                <a:latin typeface="+mn-lt"/>
              </a:rPr>
              <a:t> "</a:t>
            </a:r>
            <a:r>
              <a:rPr lang="de-DE" sz="1100" dirty="0" err="1">
                <a:latin typeface="+mn-lt"/>
              </a:rPr>
              <a:t>resource</a:t>
            </a:r>
            <a:r>
              <a:rPr lang="de-DE" sz="1100" dirty="0">
                <a:latin typeface="+mn-lt"/>
              </a:rPr>
              <a:t>-name").</a:t>
            </a:r>
            <a:r>
              <a:rPr lang="de-DE" sz="1100" dirty="0" err="1">
                <a:latin typeface="+mn-lt"/>
              </a:rPr>
              <a:t>Id</a:t>
            </a:r>
            <a:r>
              <a:rPr lang="de-DE" sz="1100" dirty="0">
                <a:latin typeface="+mn-lt"/>
              </a:rPr>
              <a:t> }} </a:t>
            </a:r>
            <a:r>
              <a:rPr lang="de-DE" sz="1100" dirty="0" err="1">
                <a:latin typeface="+mn-lt"/>
              </a:rPr>
              <a:t>dependency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resolution</a:t>
            </a:r>
            <a:br>
              <a:rPr lang="de-DE" sz="1100" dirty="0">
                <a:latin typeface="+mn-lt"/>
              </a:rPr>
            </a:br>
            <a:r>
              <a:rPr lang="de-DE" sz="1100" dirty="0">
                <a:latin typeface="+mn-lt"/>
              </a:rPr>
              <a:t>   - </a:t>
            </a:r>
            <a:r>
              <a:rPr lang="de-DE" sz="1100" dirty="0" err="1">
                <a:latin typeface="+mn-lt"/>
              </a:rPr>
              <a:t>Netplan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generation</a:t>
            </a:r>
            <a:r>
              <a:rPr lang="de-DE" sz="1100" dirty="0">
                <a:latin typeface="+mn-lt"/>
              </a:rPr>
              <a:t> — </a:t>
            </a:r>
            <a:r>
              <a:rPr lang="de-DE" sz="1100" dirty="0" err="1">
                <a:latin typeface="+mn-lt"/>
              </a:rPr>
              <a:t>injects</a:t>
            </a:r>
            <a:r>
              <a:rPr lang="de-DE" sz="1100" dirty="0">
                <a:latin typeface="+mn-lt"/>
              </a:rPr>
              <a:t> per-</a:t>
            </a:r>
            <a:r>
              <a:rPr lang="de-DE" sz="1100" dirty="0" err="1">
                <a:latin typeface="+mn-lt"/>
              </a:rPr>
              <a:t>machine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netplan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config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into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cloud-init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automatically</a:t>
            </a:r>
            <a:r>
              <a:rPr lang="de-DE" sz="1100" dirty="0">
                <a:latin typeface="+mn-lt"/>
              </a:rPr>
              <a:t> via </a:t>
            </a:r>
            <a:r>
              <a:rPr lang="de-DE" sz="1100" dirty="0" err="1">
                <a:latin typeface="+mn-lt"/>
              </a:rPr>
              <a:t>the</a:t>
            </a:r>
            <a:r>
              <a:rPr lang="de-DE" sz="1100" dirty="0">
                <a:latin typeface="+mn-lt"/>
              </a:rPr>
              <a:t> Shim </a:t>
            </a:r>
            <a:r>
              <a:rPr lang="de-DE" sz="1100" dirty="0" err="1">
                <a:latin typeface="+mn-lt"/>
              </a:rPr>
              <a:t>mechanism</a:t>
            </a:r>
            <a:br>
              <a:rPr lang="de-DE" sz="1100" dirty="0">
                <a:latin typeface="+mn-lt"/>
              </a:rPr>
            </a:br>
            <a:r>
              <a:rPr lang="de-DE" sz="1100" dirty="0">
                <a:latin typeface="+mn-lt"/>
              </a:rPr>
              <a:t>   - OCCM </a:t>
            </a:r>
            <a:r>
              <a:rPr lang="de-DE" sz="1100" dirty="0" err="1">
                <a:latin typeface="+mn-lt"/>
              </a:rPr>
              <a:t>load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balancer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classes</a:t>
            </a:r>
            <a:r>
              <a:rPr lang="de-DE" sz="1100" dirty="0">
                <a:latin typeface="+mn-lt"/>
              </a:rPr>
              <a:t> per network — </a:t>
            </a:r>
            <a:r>
              <a:rPr lang="de-DE" sz="1100" dirty="0" err="1">
                <a:latin typeface="+mn-lt"/>
              </a:rPr>
              <a:t>enabling</a:t>
            </a:r>
            <a:r>
              <a:rPr lang="de-DE" sz="1100" dirty="0">
                <a:latin typeface="+mn-lt"/>
              </a:rPr>
              <a:t> multi-network </a:t>
            </a:r>
            <a:r>
              <a:rPr lang="de-DE" sz="1100" dirty="0" err="1">
                <a:latin typeface="+mn-lt"/>
              </a:rPr>
              <a:t>service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exposure</a:t>
            </a:r>
            <a:br>
              <a:rPr lang="de-DE" sz="1100" dirty="0">
                <a:latin typeface="+mn-lt"/>
              </a:rPr>
            </a:br>
            <a:r>
              <a:rPr lang="de-DE" sz="1100" dirty="0">
                <a:latin typeface="+mn-lt"/>
              </a:rPr>
              <a:t>   - IPv6 support (RA </a:t>
            </a:r>
            <a:r>
              <a:rPr lang="de-DE" sz="1100" dirty="0" err="1">
                <a:latin typeface="+mn-lt"/>
              </a:rPr>
              <a:t>mode</a:t>
            </a:r>
            <a:r>
              <a:rPr lang="de-DE" sz="1100" dirty="0">
                <a:latin typeface="+mn-lt"/>
              </a:rPr>
              <a:t>, </a:t>
            </a:r>
            <a:r>
              <a:rPr lang="de-DE" sz="1100" dirty="0" err="1">
                <a:latin typeface="+mn-lt"/>
              </a:rPr>
              <a:t>address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mode</a:t>
            </a:r>
            <a:r>
              <a:rPr lang="de-DE" sz="1100" dirty="0">
                <a:latin typeface="+mn-lt"/>
              </a:rPr>
              <a:t>)</a:t>
            </a:r>
          </a:p>
          <a:p>
            <a:r>
              <a:rPr lang="de-DE" sz="1100" dirty="0"/>
              <a:t>Operational Features</a:t>
            </a:r>
            <a:br>
              <a:rPr lang="de-DE" sz="1100" dirty="0"/>
            </a:br>
            <a:r>
              <a:rPr lang="de-DE" sz="1100" dirty="0">
                <a:latin typeface="+mn-lt"/>
              </a:rPr>
              <a:t>   - Maintenance </a:t>
            </a:r>
            <a:r>
              <a:rPr lang="de-DE" sz="1100" dirty="0" err="1">
                <a:latin typeface="+mn-lt"/>
              </a:rPr>
              <a:t>mode</a:t>
            </a:r>
            <a:r>
              <a:rPr lang="de-DE" sz="1100" dirty="0">
                <a:latin typeface="+mn-lt"/>
              </a:rPr>
              <a:t> — pause </a:t>
            </a:r>
            <a:r>
              <a:rPr lang="de-DE" sz="1100" dirty="0" err="1">
                <a:latin typeface="+mn-lt"/>
              </a:rPr>
              <a:t>reconciliation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with</a:t>
            </a:r>
            <a:r>
              <a:rPr lang="de-DE" sz="1100" dirty="0">
                <a:latin typeface="+mn-lt"/>
              </a:rPr>
              <a:t> a </a:t>
            </a:r>
            <a:r>
              <a:rPr lang="de-DE" sz="1100" dirty="0" err="1">
                <a:latin typeface="+mn-lt"/>
              </a:rPr>
              <a:t>reason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annotation</a:t>
            </a:r>
            <a:br>
              <a:rPr lang="de-DE" sz="1100" dirty="0">
                <a:latin typeface="+mn-lt"/>
              </a:rPr>
            </a:br>
            <a:r>
              <a:rPr lang="de-DE" sz="1100" dirty="0">
                <a:latin typeface="+mn-lt"/>
              </a:rPr>
              <a:t>   - Dry-run </a:t>
            </a:r>
            <a:r>
              <a:rPr lang="de-DE" sz="1100" dirty="0" err="1">
                <a:latin typeface="+mn-lt"/>
              </a:rPr>
              <a:t>mode</a:t>
            </a:r>
            <a:r>
              <a:rPr lang="de-DE" sz="1100" dirty="0">
                <a:latin typeface="+mn-lt"/>
              </a:rPr>
              <a:t> — </a:t>
            </a:r>
            <a:r>
              <a:rPr lang="de-DE" sz="1100" dirty="0" err="1">
                <a:latin typeface="+mn-lt"/>
              </a:rPr>
              <a:t>simulate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changes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without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applying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them</a:t>
            </a:r>
            <a:r>
              <a:rPr lang="de-DE" sz="1100" dirty="0">
                <a:latin typeface="+mn-lt"/>
              </a:rPr>
              <a:t>, </a:t>
            </a:r>
            <a:r>
              <a:rPr lang="de-DE" sz="1100" dirty="0" err="1">
                <a:latin typeface="+mn-lt"/>
              </a:rPr>
              <a:t>showing</a:t>
            </a:r>
            <a:r>
              <a:rPr lang="de-DE" sz="1100" dirty="0">
                <a:latin typeface="+mn-lt"/>
              </a:rPr>
              <a:t> a </a:t>
            </a:r>
            <a:r>
              <a:rPr lang="de-DE" sz="1100" dirty="0" err="1">
                <a:latin typeface="+mn-lt"/>
              </a:rPr>
              <a:t>diff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summary</a:t>
            </a:r>
            <a:br>
              <a:rPr lang="de-DE" sz="1100" dirty="0">
                <a:latin typeface="+mn-lt"/>
              </a:rPr>
            </a:br>
            <a:r>
              <a:rPr lang="de-DE" sz="1100" dirty="0">
                <a:latin typeface="+mn-lt"/>
              </a:rPr>
              <a:t>   - Update </a:t>
            </a:r>
            <a:r>
              <a:rPr lang="de-DE" sz="1100" dirty="0" err="1">
                <a:latin typeface="+mn-lt"/>
              </a:rPr>
              <a:t>plans</a:t>
            </a:r>
            <a:r>
              <a:rPr lang="de-DE" sz="1100" dirty="0">
                <a:latin typeface="+mn-lt"/>
              </a:rPr>
              <a:t> — </a:t>
            </a:r>
            <a:r>
              <a:rPr lang="de-DE" sz="1100" dirty="0" err="1">
                <a:latin typeface="+mn-lt"/>
              </a:rPr>
              <a:t>status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shows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what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changes</a:t>
            </a:r>
            <a:r>
              <a:rPr lang="de-DE" sz="1100" dirty="0">
                <a:latin typeface="+mn-lt"/>
              </a:rPr>
              <a:t> will </a:t>
            </a:r>
            <a:r>
              <a:rPr lang="de-DE" sz="1100" dirty="0" err="1">
                <a:latin typeface="+mn-lt"/>
              </a:rPr>
              <a:t>trigger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control</a:t>
            </a:r>
            <a:r>
              <a:rPr lang="de-DE" sz="1100" dirty="0">
                <a:latin typeface="+mn-lt"/>
              </a:rPr>
              <a:t> plane </a:t>
            </a:r>
            <a:r>
              <a:rPr lang="de-DE" sz="1100" dirty="0" err="1">
                <a:latin typeface="+mn-lt"/>
              </a:rPr>
              <a:t>or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worker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re</a:t>
            </a:r>
            <a:r>
              <a:rPr lang="de-DE" sz="1100" dirty="0">
                <a:latin typeface="+mn-lt"/>
              </a:rPr>
              <a:t>-rolls</a:t>
            </a:r>
            <a:br>
              <a:rPr lang="de-DE" sz="1100" dirty="0">
                <a:latin typeface="+mn-lt"/>
              </a:rPr>
            </a:br>
            <a:r>
              <a:rPr lang="de-DE" sz="1100" dirty="0">
                <a:latin typeface="+mn-lt"/>
              </a:rPr>
              <a:t>   - </a:t>
            </a:r>
            <a:r>
              <a:rPr lang="de-DE" sz="1100" dirty="0" err="1">
                <a:latin typeface="+mn-lt"/>
              </a:rPr>
              <a:t>Sequential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or</a:t>
            </a:r>
            <a:r>
              <a:rPr lang="de-DE" sz="1100" dirty="0">
                <a:latin typeface="+mn-lt"/>
              </a:rPr>
              <a:t> parallel </a:t>
            </a:r>
            <a:r>
              <a:rPr lang="de-DE" sz="1100" dirty="0" err="1">
                <a:latin typeface="+mn-lt"/>
              </a:rPr>
              <a:t>worker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group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upgrades</a:t>
            </a:r>
            <a:r>
              <a:rPr lang="de-DE" sz="1100" dirty="0">
                <a:latin typeface="+mn-lt"/>
              </a:rPr>
              <a:t> (</a:t>
            </a:r>
            <a:r>
              <a:rPr lang="de-DE" sz="1100" dirty="0" err="1">
                <a:latin typeface="+mn-lt"/>
              </a:rPr>
              <a:t>overallWgStrategy</a:t>
            </a:r>
            <a:r>
              <a:rPr lang="de-DE" sz="1100" dirty="0">
                <a:latin typeface="+mn-lt"/>
              </a:rPr>
              <a:t>)</a:t>
            </a:r>
            <a:br>
              <a:rPr lang="de-DE" sz="1100" dirty="0">
                <a:latin typeface="+mn-lt"/>
              </a:rPr>
            </a:br>
            <a:r>
              <a:rPr lang="de-DE" sz="1100" dirty="0">
                <a:latin typeface="+mn-lt"/>
              </a:rPr>
              <a:t>   - </a:t>
            </a:r>
            <a:r>
              <a:rPr lang="de-DE" sz="1100" dirty="0" err="1">
                <a:latin typeface="+mn-lt"/>
              </a:rPr>
              <a:t>Worker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group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autoscaling</a:t>
            </a:r>
            <a:r>
              <a:rPr lang="de-DE" sz="1100" dirty="0">
                <a:latin typeface="+mn-lt"/>
              </a:rPr>
              <a:t> (min/</a:t>
            </a:r>
            <a:r>
              <a:rPr lang="de-DE" sz="1100" dirty="0" err="1">
                <a:latin typeface="+mn-lt"/>
              </a:rPr>
              <a:t>max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replicas</a:t>
            </a:r>
            <a:r>
              <a:rPr lang="de-DE" sz="1100" dirty="0">
                <a:latin typeface="+mn-lt"/>
              </a:rPr>
              <a:t>)</a:t>
            </a:r>
            <a:br>
              <a:rPr lang="de-DE" sz="1100" dirty="0">
                <a:latin typeface="+mn-lt"/>
              </a:rPr>
            </a:br>
            <a:r>
              <a:rPr lang="de-DE" sz="1100" dirty="0">
                <a:latin typeface="+mn-lt"/>
              </a:rPr>
              <a:t>   - </a:t>
            </a:r>
            <a:r>
              <a:rPr lang="de-DE" sz="1100" dirty="0" err="1">
                <a:latin typeface="+mn-lt"/>
              </a:rPr>
              <a:t>Ceph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storage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class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configuration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for</a:t>
            </a:r>
            <a:r>
              <a:rPr lang="de-DE" sz="1100" dirty="0">
                <a:latin typeface="+mn-lt"/>
              </a:rPr>
              <a:t> bare </a:t>
            </a:r>
            <a:r>
              <a:rPr lang="de-DE" sz="1100" dirty="0" err="1">
                <a:latin typeface="+mn-lt"/>
              </a:rPr>
              <a:t>metal</a:t>
            </a:r>
            <a:br>
              <a:rPr lang="de-DE" sz="1100" dirty="0">
                <a:latin typeface="+mn-lt"/>
              </a:rPr>
            </a:br>
            <a:r>
              <a:rPr lang="de-DE" sz="1100" dirty="0">
                <a:latin typeface="+mn-lt"/>
              </a:rPr>
              <a:t>   - </a:t>
            </a:r>
            <a:r>
              <a:rPr lang="de-DE" sz="1100" dirty="0" err="1">
                <a:latin typeface="+mn-lt"/>
              </a:rPr>
              <a:t>Telemetry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for</a:t>
            </a:r>
            <a:r>
              <a:rPr lang="de-DE" sz="1100" dirty="0">
                <a:latin typeface="+mn-lt"/>
              </a:rPr>
              <a:t> bare-</a:t>
            </a:r>
            <a:r>
              <a:rPr lang="de-DE" sz="1100" dirty="0" err="1">
                <a:latin typeface="+mn-lt"/>
              </a:rPr>
              <a:t>metal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deployment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status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tracking</a:t>
            </a:r>
            <a:br>
              <a:rPr lang="de-DE" sz="1100" dirty="0">
                <a:latin typeface="+mn-lt"/>
              </a:rPr>
            </a:br>
            <a:r>
              <a:rPr lang="de-DE" sz="1100" dirty="0">
                <a:latin typeface="+mn-lt"/>
              </a:rPr>
              <a:t>   - </a:t>
            </a:r>
            <a:r>
              <a:rPr lang="de-DE" sz="1100" dirty="0" err="1">
                <a:latin typeface="+mn-lt"/>
              </a:rPr>
              <a:t>Validating</a:t>
            </a:r>
            <a:r>
              <a:rPr lang="de-DE" sz="1100" dirty="0">
                <a:latin typeface="+mn-lt"/>
              </a:rPr>
              <a:t> &amp; </a:t>
            </a:r>
            <a:r>
              <a:rPr lang="de-DE" sz="1100" dirty="0" err="1">
                <a:latin typeface="+mn-lt"/>
              </a:rPr>
              <a:t>Mutating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webhooks</a:t>
            </a:r>
            <a:r>
              <a:rPr lang="de-DE" sz="1100" dirty="0">
                <a:latin typeface="+mn-lt"/>
              </a:rPr>
              <a:t> — extensive </a:t>
            </a:r>
            <a:r>
              <a:rPr lang="de-DE" sz="1100" dirty="0" err="1">
                <a:latin typeface="+mn-lt"/>
              </a:rPr>
              <a:t>input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validation</a:t>
            </a:r>
            <a:br>
              <a:rPr lang="de-DE" sz="1100" dirty="0">
                <a:latin typeface="+mn-lt"/>
              </a:rPr>
            </a:br>
            <a:r>
              <a:rPr lang="de-DE" sz="1100" dirty="0">
                <a:latin typeface="+mn-lt"/>
              </a:rPr>
              <a:t>   - DCIM </a:t>
            </a:r>
            <a:r>
              <a:rPr lang="de-DE" sz="1100" dirty="0" err="1">
                <a:latin typeface="+mn-lt"/>
              </a:rPr>
              <a:t>integration</a:t>
            </a:r>
            <a:r>
              <a:rPr lang="de-DE" sz="1100" dirty="0">
                <a:latin typeface="+mn-lt"/>
              </a:rPr>
              <a:t> — </a:t>
            </a:r>
            <a:r>
              <a:rPr lang="de-DE" sz="1100" dirty="0" err="1">
                <a:latin typeface="+mn-lt"/>
              </a:rPr>
              <a:t>registers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clusters</a:t>
            </a:r>
            <a:r>
              <a:rPr lang="de-DE" sz="1100" dirty="0">
                <a:latin typeface="+mn-lt"/>
              </a:rPr>
              <a:t>, </a:t>
            </a:r>
            <a:r>
              <a:rPr lang="de-DE" sz="1100" dirty="0" err="1">
                <a:latin typeface="+mn-lt"/>
              </a:rPr>
              <a:t>devices</a:t>
            </a:r>
            <a:r>
              <a:rPr lang="de-DE" sz="1100" dirty="0">
                <a:latin typeface="+mn-lt"/>
              </a:rPr>
              <a:t>, and </a:t>
            </a:r>
            <a:r>
              <a:rPr lang="de-DE" sz="1100" dirty="0" err="1">
                <a:latin typeface="+mn-lt"/>
              </a:rPr>
              <a:t>config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contexts</a:t>
            </a:r>
            <a:r>
              <a:rPr lang="de-DE" sz="1100" dirty="0">
                <a:latin typeface="+mn-lt"/>
              </a:rPr>
              <a:t> in </a:t>
            </a:r>
            <a:r>
              <a:rPr lang="de-DE" sz="1100" dirty="0" err="1">
                <a:latin typeface="+mn-lt"/>
              </a:rPr>
              <a:t>NetBox</a:t>
            </a:r>
            <a:endParaRPr lang="de-DE" sz="1100" dirty="0">
              <a:latin typeface="+mn-lt"/>
            </a:endParaRPr>
          </a:p>
        </p:txBody>
      </p:sp>
      <p:sp>
        <p:nvSpPr>
          <p:cNvPr id="12" name="Rectangle 5">
            <a:extLst>
              <a:ext uri="{FF2B5EF4-FFF2-40B4-BE49-F238E27FC236}">
                <a16:creationId xmlns:a16="http://schemas.microsoft.com/office/drawing/2014/main" id="{A7E62818-93F1-83A0-DD8C-EE26F7960B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33735" y="1110675"/>
            <a:ext cx="4151784" cy="5509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  <a:t>Kubernetes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  <a:t> &amp; Node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  <a:t>Configuration</a:t>
            </a:r>
            <a:b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</a:b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  <a:t>  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Via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CaasComponentConfig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(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backed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by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CAPI's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KubeadmConfigSpec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),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the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operator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configures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:</a:t>
            </a:r>
            <a:b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</a:b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   -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Kubernetes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version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management</a:t>
            </a:r>
            <a:b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</a:b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   -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preKubeadmCommands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/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postKubeadmCommands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—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arbitrary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shell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commands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run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before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/after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kubeadm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(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with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templating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support),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used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for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kernel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parameters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,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sysctl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settings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,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package</a:t>
            </a:r>
            <a:b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</a:b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  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installation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, etc.</a:t>
            </a:r>
            <a:b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</a:b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   -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Kubelet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extra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args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per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worker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group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(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kubeletExtraArgs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)</a:t>
            </a:r>
            <a:b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</a:b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   - Node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labels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per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worker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group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or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control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plane (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nodeLabels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)</a:t>
            </a:r>
            <a:b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</a:b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   - Node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taints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per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worker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group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or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control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plane (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nodeTaints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)</a:t>
            </a:r>
            <a:b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</a:b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   - OIDC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configuration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(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issuer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URL,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client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ID, CA,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claims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,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groups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)</a:t>
            </a:r>
            <a:b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</a:b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   -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CoreDNS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skip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(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managed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by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CaaS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functions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instead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of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kubeadm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)</a:t>
            </a:r>
            <a:b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</a:b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   -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KubeProxy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skip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(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managed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by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CaaS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functions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instead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of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kubeadm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)</a:t>
            </a:r>
            <a:b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</a:b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   -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ExtraParams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— open-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ended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dynamic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map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passed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through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to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helm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chart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values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(e.g.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kube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-proxy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cluster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FQDN)</a:t>
            </a:r>
            <a:b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</a:b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   - Alternate SANs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for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API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server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certificates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(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alternateNames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)</a:t>
            </a:r>
            <a:b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</a:b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   -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KubeVIP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support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for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virtual IP-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based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API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access</a:t>
            </a:r>
            <a:b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</a:b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   -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Deployment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strategies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: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makeBeforeBreak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or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breakBeforeMake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(per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cluster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or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per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worker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group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)</a:t>
            </a:r>
            <a:b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</a:b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   - Feature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gates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in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component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configs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(e.g.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RoleAndWorkerGroupNodeLabels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,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ProperMachineInputs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)</a:t>
            </a:r>
            <a:b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</a:b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  <a:t>Application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  <a:t> Lifecycle (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  <a:t>CaasFunctions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  <a:t> &amp;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  <a:t>CaasProducts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  <a:t>)</a:t>
            </a:r>
            <a:b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</a:b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   -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CaasProduct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—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defines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a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complete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cluster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"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product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" (K8s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version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, OS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images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,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list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of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functions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,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actions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,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component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config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)</a:t>
            </a:r>
            <a:b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</a:b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   -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CaasFunction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—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declares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Helm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charts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to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deploy on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clusters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,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with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:</a:t>
            </a:r>
            <a:b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</a:b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    -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Dependency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resolution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(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dependsOn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,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requires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,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provides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)</a:t>
            </a:r>
            <a:b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</a:b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    -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Local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(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mgmt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cluster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)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or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remote (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customer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cluster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)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deployment</a:t>
            </a:r>
            <a:b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</a:b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    -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ArgoCD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integration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for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GitOps-based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deployment</a:t>
            </a:r>
            <a:b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</a:b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    - DNS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record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creation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per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function</a:t>
            </a:r>
            <a:b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</a:b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    - Custom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sync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options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(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replace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,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create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e-DE" alt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</a:rPr>
              <a:t>namespace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)</a:t>
            </a:r>
            <a:b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</a:br>
            <a:endParaRPr kumimoji="0" lang="de-DE" altLang="de-DE" sz="11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7341497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8soCYO_HNLEdyWn3ZOk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LrLruOQcGSeSyJDJK3Y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elekom – Puzzle (06/2021) EN">
  <a:themeElements>
    <a:clrScheme name="Telekom Liquid Master">
      <a:dk1>
        <a:sysClr val="windowText" lastClr="000000"/>
      </a:dk1>
      <a:lt1>
        <a:sysClr val="window" lastClr="FFFFFF"/>
      </a:lt1>
      <a:dk2>
        <a:srgbClr val="E20074"/>
      </a:dk2>
      <a:lt2>
        <a:srgbClr val="A3A3A3"/>
      </a:lt2>
      <a:accent1>
        <a:srgbClr val="32B9AF"/>
      </a:accent1>
      <a:accent2>
        <a:srgbClr val="A4DEEE"/>
      </a:accent2>
      <a:accent3>
        <a:srgbClr val="ECCCBF"/>
      </a:accent3>
      <a:accent4>
        <a:srgbClr val="F0E68C"/>
      </a:accent4>
      <a:accent5>
        <a:srgbClr val="00A8E6"/>
      </a:accent5>
      <a:accent6>
        <a:srgbClr val="6E648C"/>
      </a:accent6>
      <a:hlink>
        <a:srgbClr val="00739F"/>
      </a:hlink>
      <a:folHlink>
        <a:srgbClr val="00739F"/>
      </a:folHlink>
    </a:clrScheme>
    <a:fontScheme name="Deutsche Telekom Liquid Master">
      <a:majorFont>
        <a:latin typeface="TeleNeo Office ExtraBold"/>
        <a:ea typeface=""/>
        <a:cs typeface=""/>
      </a:majorFont>
      <a:minorFont>
        <a:latin typeface="Tele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>
          <a:noFill/>
        </a:ln>
      </a:spPr>
      <a:bodyPr lIns="72000" tIns="72000" rIns="72000" bIns="72000"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44000" indent="-144000" algn="l">
          <a:buClr>
            <a:schemeClr val="tx2"/>
          </a:buClr>
          <a:buSzPct val="100000"/>
          <a:buFont typeface="TeleNeo Office" panose="020B0504040202090203" pitchFamily="34" charset="0"/>
          <a:buChar char="•"/>
          <a:defRPr smtClean="0"/>
        </a:defPPr>
      </a:lstStyle>
    </a:txDef>
  </a:objectDefaults>
  <a:extraClrSchemeLst/>
  <a:custClrLst>
    <a:custClr name="Smaragd">
      <a:srgbClr val="078C82"/>
    </a:custClr>
    <a:custClr name="Ozean">
      <a:srgbClr val="5AB4C8"/>
    </a:custClr>
    <a:custClr name="Cappuccino">
      <a:srgbClr val="BD968C"/>
    </a:custClr>
    <a:custClr name="Curry">
      <a:srgbClr val="C8B45A"/>
    </a:custClr>
    <a:custClr name="Jeans">
      <a:srgbClr val="0478BE"/>
    </a:custClr>
    <a:custClr name="Aubergine">
      <a:srgbClr val="3C325A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Mint">
      <a:srgbClr val="86CBC4"/>
    </a:custClr>
    <a:custClr name="Himmel">
      <a:srgbClr val="CBE8F4"/>
    </a:custClr>
    <a:custClr name="Pfirsich">
      <a:srgbClr val="FAE2D8"/>
    </a:custClr>
    <a:custClr name="Vanille">
      <a:srgbClr val="F5EBAF"/>
    </a:custClr>
    <a:custClr name="Azur">
      <a:srgbClr val="45C1F1"/>
    </a:custClr>
    <a:custClr name="Flieder">
      <a:srgbClr val="9C9BB9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Grau 38">
      <a:srgbClr val="262626"/>
    </a:custClr>
    <a:custClr name="Grau 75">
      <a:srgbClr val="4B4B4B"/>
    </a:custClr>
    <a:custClr name="Grau 115">
      <a:srgbClr val="737373"/>
    </a:custClr>
    <a:custClr name="Grau 178">
      <a:srgbClr val="B2B2B2"/>
    </a:custClr>
    <a:custClr name="Grau 220">
      <a:srgbClr val="DCDCDC"/>
    </a:custClr>
    <a:custClr name="Leer">
      <a:srgbClr val="FFFFFF"/>
    </a:custClr>
    <a:custClr name="Leer">
      <a:srgbClr val="FFFFFF"/>
    </a:custClr>
    <a:custClr name="Rot">
      <a:srgbClr val="D90000"/>
    </a:custClr>
    <a:custClr name="Gelb">
      <a:srgbClr val="FECB00"/>
    </a:custClr>
    <a:custClr name="Grün">
      <a:srgbClr val="46A800"/>
    </a:custClr>
  </a:custClrLst>
  <a:extLst>
    <a:ext uri="{05A4C25C-085E-4340-85A3-A5531E510DB2}">
      <thm15:themeFamily xmlns:thm15="http://schemas.microsoft.com/office/thememl/2012/main" name="Presentation1" id="{E9BDD9C8-DF40-42D5-90D2-6C0817BDA5F3}" vid="{B9B27EA7-9927-479C-AA95-0DA81F4AE844}"/>
    </a:ext>
  </a:extLst>
</a:theme>
</file>

<file path=ppt/theme/theme2.xml><?xml version="1.0" encoding="utf-8"?>
<a:theme xmlns:a="http://schemas.openxmlformats.org/drawingml/2006/main" name="1_Telekom 2020 DE">
  <a:themeElements>
    <a:clrScheme name="Telekom Liquid Master">
      <a:dk1>
        <a:sysClr val="windowText" lastClr="000000"/>
      </a:dk1>
      <a:lt1>
        <a:sysClr val="window" lastClr="FFFFFF"/>
      </a:lt1>
      <a:dk2>
        <a:srgbClr val="E20074"/>
      </a:dk2>
      <a:lt2>
        <a:srgbClr val="A3A3A3"/>
      </a:lt2>
      <a:accent1>
        <a:srgbClr val="32B9AF"/>
      </a:accent1>
      <a:accent2>
        <a:srgbClr val="A4DEEE"/>
      </a:accent2>
      <a:accent3>
        <a:srgbClr val="ECCCBF"/>
      </a:accent3>
      <a:accent4>
        <a:srgbClr val="F0E68C"/>
      </a:accent4>
      <a:accent5>
        <a:srgbClr val="00A8E6"/>
      </a:accent5>
      <a:accent6>
        <a:srgbClr val="6E648C"/>
      </a:accent6>
      <a:hlink>
        <a:srgbClr val="00739F"/>
      </a:hlink>
      <a:folHlink>
        <a:srgbClr val="00739F"/>
      </a:folHlink>
    </a:clrScheme>
    <a:fontScheme name="Deutsche Telekom Liquid Master">
      <a:majorFont>
        <a:latin typeface="TeleNeo Office ExtraBold"/>
        <a:ea typeface=""/>
        <a:cs typeface=""/>
      </a:majorFont>
      <a:minorFont>
        <a:latin typeface="Tele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>
          <a:noFill/>
        </a:ln>
      </a:spPr>
      <a:bodyPr lIns="72000" tIns="72000" rIns="72000" bIns="72000"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44000" indent="-144000" algn="l">
          <a:buClr>
            <a:schemeClr val="tx2"/>
          </a:buClr>
          <a:buSzPct val="100000"/>
          <a:buFont typeface="TeleNeo Office" panose="020B0504040202090203" pitchFamily="34" charset="0"/>
          <a:buChar char="•"/>
          <a:defRPr smtClean="0"/>
        </a:defPPr>
      </a:lstStyle>
    </a:txDef>
  </a:objectDefaults>
  <a:extraClrSchemeLst/>
  <a:custClrLst>
    <a:custClr name="Smaragd">
      <a:srgbClr val="078C82"/>
    </a:custClr>
    <a:custClr name="Ozean">
      <a:srgbClr val="5AB4C8"/>
    </a:custClr>
    <a:custClr name="Cappuccino">
      <a:srgbClr val="BD968C"/>
    </a:custClr>
    <a:custClr name="Curry">
      <a:srgbClr val="C8B45A"/>
    </a:custClr>
    <a:custClr name="Jeans">
      <a:srgbClr val="0478BE"/>
    </a:custClr>
    <a:custClr name="Aubergine">
      <a:srgbClr val="3C325A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Mint">
      <a:srgbClr val="86CBC4"/>
    </a:custClr>
    <a:custClr name="Himmel">
      <a:srgbClr val="CBE8F4"/>
    </a:custClr>
    <a:custClr name="Pfirsich">
      <a:srgbClr val="FAE2D8"/>
    </a:custClr>
    <a:custClr name="Vanille">
      <a:srgbClr val="F5EBAF"/>
    </a:custClr>
    <a:custClr name="Azur">
      <a:srgbClr val="45C1F1"/>
    </a:custClr>
    <a:custClr name="Flieder">
      <a:srgbClr val="9C9BB9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Grau 38">
      <a:srgbClr val="262626"/>
    </a:custClr>
    <a:custClr name="Grau 75">
      <a:srgbClr val="4B4B4B"/>
    </a:custClr>
    <a:custClr name="Grau 115">
      <a:srgbClr val="737373"/>
    </a:custClr>
    <a:custClr name="Grau 178">
      <a:srgbClr val="B2B2B2"/>
    </a:custClr>
    <a:custClr name="Grau 220">
      <a:srgbClr val="DCDCDC"/>
    </a:custClr>
    <a:custClr name="Leer">
      <a:srgbClr val="FFFFFF"/>
    </a:custClr>
    <a:custClr name="Leer">
      <a:srgbClr val="FFFFFF"/>
    </a:custClr>
    <a:custClr name="Rot">
      <a:srgbClr val="D90000"/>
    </a:custClr>
    <a:custClr name="Gelb">
      <a:srgbClr val="FECB00"/>
    </a:custClr>
    <a:custClr name="Grün">
      <a:srgbClr val="46A800"/>
    </a:custClr>
  </a:custClrLst>
  <a:extLst>
    <a:ext uri="{05A4C25C-085E-4340-85A3-A5531E510DB2}">
      <thm15:themeFamily xmlns:thm15="http://schemas.microsoft.com/office/thememl/2012/main" name="Präsentation3" id="{29E9177C-1AFC-41B5-A9A0-2C78E40EC98F}" vid="{A6CE1860-2D83-4068-9CB2-17D6533844E2}"/>
    </a:ext>
  </a:extLst>
</a:theme>
</file>

<file path=ppt/theme/theme3.xml><?xml version="1.0" encoding="utf-8"?>
<a:theme xmlns:a="http://schemas.openxmlformats.org/drawingml/2006/main" name="Office">
  <a:themeElements>
    <a:clrScheme name="Telekom Liquid Master">
      <a:dk1>
        <a:sysClr val="windowText" lastClr="000000"/>
      </a:dk1>
      <a:lt1>
        <a:sysClr val="window" lastClr="FFFFFF"/>
      </a:lt1>
      <a:dk2>
        <a:srgbClr val="E20074"/>
      </a:dk2>
      <a:lt2>
        <a:srgbClr val="A3A3A3"/>
      </a:lt2>
      <a:accent1>
        <a:srgbClr val="32B9AF"/>
      </a:accent1>
      <a:accent2>
        <a:srgbClr val="A4DEEE"/>
      </a:accent2>
      <a:accent3>
        <a:srgbClr val="ECCCBF"/>
      </a:accent3>
      <a:accent4>
        <a:srgbClr val="F0E68C"/>
      </a:accent4>
      <a:accent5>
        <a:srgbClr val="00A8E6"/>
      </a:accent5>
      <a:accent6>
        <a:srgbClr val="6E648C"/>
      </a:accent6>
      <a:hlink>
        <a:srgbClr val="00739F"/>
      </a:hlink>
      <a:folHlink>
        <a:srgbClr val="00739F"/>
      </a:folHlink>
    </a:clrScheme>
    <a:fontScheme name="Deutsche Telekom Liquid Master">
      <a:majorFont>
        <a:latin typeface="TeleNeo Office ExtraBold"/>
        <a:ea typeface=""/>
        <a:cs typeface=""/>
      </a:majorFont>
      <a:minorFont>
        <a:latin typeface="Tele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0" tIns="0" rIns="0" bIns="0"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44000" indent="-144000" algn="l">
          <a:buClr>
            <a:schemeClr val="tx2"/>
          </a:buClr>
          <a:buSzPct val="100000"/>
          <a:buFont typeface="TeleNeo Office" panose="020B0504040202090203" pitchFamily="34" charset="0"/>
          <a:buChar char="•"/>
          <a:defRPr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Telekom Liquid Master">
      <a:dk1>
        <a:sysClr val="windowText" lastClr="000000"/>
      </a:dk1>
      <a:lt1>
        <a:sysClr val="window" lastClr="FFFFFF"/>
      </a:lt1>
      <a:dk2>
        <a:srgbClr val="E20074"/>
      </a:dk2>
      <a:lt2>
        <a:srgbClr val="A3A3A3"/>
      </a:lt2>
      <a:accent1>
        <a:srgbClr val="32B9AF"/>
      </a:accent1>
      <a:accent2>
        <a:srgbClr val="A4DEEE"/>
      </a:accent2>
      <a:accent3>
        <a:srgbClr val="ECCCBF"/>
      </a:accent3>
      <a:accent4>
        <a:srgbClr val="F0E68C"/>
      </a:accent4>
      <a:accent5>
        <a:srgbClr val="00A8E6"/>
      </a:accent5>
      <a:accent6>
        <a:srgbClr val="6E648C"/>
      </a:accent6>
      <a:hlink>
        <a:srgbClr val="00739F"/>
      </a:hlink>
      <a:folHlink>
        <a:srgbClr val="00739F"/>
      </a:folHlink>
    </a:clrScheme>
    <a:fontScheme name="Deutsche Telekom Liquid Master">
      <a:majorFont>
        <a:latin typeface="TeleNeo Office ExtraBold"/>
        <a:ea typeface=""/>
        <a:cs typeface=""/>
      </a:majorFont>
      <a:minorFont>
        <a:latin typeface="Tele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0" tIns="0" rIns="0" bIns="0"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44000" indent="-144000" algn="l">
          <a:buClr>
            <a:schemeClr val="tx2"/>
          </a:buClr>
          <a:buSzPct val="100000"/>
          <a:buFont typeface="TeleNeo Office" panose="020B0504040202090203" pitchFamily="34" charset="0"/>
          <a:buChar char="•"/>
          <a:defRPr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6d77e7c-9d7c-4594-9d40-096ae0c8ca15">
      <Terms xmlns="http://schemas.microsoft.com/office/infopath/2007/PartnerControls"/>
    </lcf76f155ced4ddcb4097134ff3c332f>
    <TaxCatchAll xmlns="fee49350-8647-40e4-a9df-eccbf55aee48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C8DE40AC4C79E42AB1B8793C05A248C" ma:contentTypeVersion="16" ma:contentTypeDescription="Ein neues Dokument erstellen." ma:contentTypeScope="" ma:versionID="3235b84c278bab69b47504e183a9f65e">
  <xsd:schema xmlns:xsd="http://www.w3.org/2001/XMLSchema" xmlns:xs="http://www.w3.org/2001/XMLSchema" xmlns:p="http://schemas.microsoft.com/office/2006/metadata/properties" xmlns:ns2="76d77e7c-9d7c-4594-9d40-096ae0c8ca15" xmlns:ns3="fee49350-8647-40e4-a9df-eccbf55aee48" targetNamespace="http://schemas.microsoft.com/office/2006/metadata/properties" ma:root="true" ma:fieldsID="1cbf7621cfead8fd3faba62e104b6f16" ns2:_="" ns3:_="">
    <xsd:import namespace="76d77e7c-9d7c-4594-9d40-096ae0c8ca15"/>
    <xsd:import namespace="fee49350-8647-40e4-a9df-eccbf55aee4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d77e7c-9d7c-4594-9d40-096ae0c8ca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55a6c181-b3a6-4e6d-958a-84db063416a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e49350-8647-40e4-a9df-eccbf55aee4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3f90fa80-b1be-4cfa-9fce-16fd7ee1c02c}" ma:internalName="TaxCatchAll" ma:showField="CatchAllData" ma:web="fee49350-8647-40e4-a9df-eccbf55aee4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66AB859-0552-47BE-83F6-D086C523AB35}">
  <ds:schemaRefs>
    <ds:schemaRef ds:uri="http://schemas.microsoft.com/office/2006/metadata/properties"/>
    <ds:schemaRef ds:uri="http://schemas.microsoft.com/office/infopath/2007/PartnerControls"/>
    <ds:schemaRef ds:uri="76d77e7c-9d7c-4594-9d40-096ae0c8ca15"/>
    <ds:schemaRef ds:uri="fee49350-8647-40e4-a9df-eccbf55aee48"/>
  </ds:schemaRefs>
</ds:datastoreItem>
</file>

<file path=customXml/itemProps2.xml><?xml version="1.0" encoding="utf-8"?>
<ds:datastoreItem xmlns:ds="http://schemas.openxmlformats.org/officeDocument/2006/customXml" ds:itemID="{15DFB575-67B9-42D3-BF3A-68B0D41BECF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2678515-8768-419F-9D65-DDC1635E05D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6d77e7c-9d7c-4594-9d40-096ae0c8ca15"/>
    <ds:schemaRef ds:uri="fee49350-8647-40e4-a9df-eccbf55aee4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DI Slide Master dark</Template>
  <TotalTime>0</TotalTime>
  <Words>866</Words>
  <Application>Microsoft Office PowerPoint</Application>
  <PresentationFormat>Breitbild</PresentationFormat>
  <Paragraphs>14</Paragraphs>
  <Slides>4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4</vt:i4>
      </vt:variant>
    </vt:vector>
  </HeadingPairs>
  <TitlesOfParts>
    <vt:vector size="15" baseType="lpstr">
      <vt:lpstr>Arial</vt:lpstr>
      <vt:lpstr>Calibri</vt:lpstr>
      <vt:lpstr>TeleGrotesk Headline Ultra</vt:lpstr>
      <vt:lpstr>TeleGrotesk Next Ultra</vt:lpstr>
      <vt:lpstr>Tele-GroteskUlt</vt:lpstr>
      <vt:lpstr>TeleNeo Office</vt:lpstr>
      <vt:lpstr>TeleNeo Office ExtraBold</vt:lpstr>
      <vt:lpstr>1_Telekom – Puzzle (06/2021) EN</vt:lpstr>
      <vt:lpstr>1_Telekom 2020 DE</vt:lpstr>
      <vt:lpstr>think-cell Folie</vt:lpstr>
      <vt:lpstr>think-cell Slide</vt:lpstr>
      <vt:lpstr>Last update on cLab development… Marin Komadina, Automation and Orchestration Platform     </vt:lpstr>
      <vt:lpstr>CNF cluster templates</vt:lpstr>
      <vt:lpstr>Provisioning Operator</vt:lpstr>
      <vt:lpstr>Full list of features</vt:lpstr>
    </vt:vector>
  </TitlesOfParts>
  <Company>Magyar Telekom Nyrt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st update on cLab development… Marin Komadina, Automation and Orchestration Platform</dc:title>
  <dc:creator>Bicsák Tamás</dc:creator>
  <dc:description>Optimized for Office 365</dc:description>
  <cp:lastModifiedBy>Martin Zieroth</cp:lastModifiedBy>
  <cp:revision>28</cp:revision>
  <cp:lastPrinted>2020-08-27T09:01:38Z</cp:lastPrinted>
  <dcterms:created xsi:type="dcterms:W3CDTF">2025-01-13T16:38:35Z</dcterms:created>
  <dcterms:modified xsi:type="dcterms:W3CDTF">2026-02-19T07:15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C8DE40AC4C79E42AB1B8793C05A248C</vt:lpwstr>
  </property>
  <property fmtid="{D5CDD505-2E9C-101B-9397-08002B2CF9AE}" pid="3" name="MediaServiceImageTags">
    <vt:lpwstr/>
  </property>
  <property fmtid="{D5CDD505-2E9C-101B-9397-08002B2CF9AE}" pid="4" name="MSIP_Label_e6120bfe-1399-4a1b-84d8-7ade526126b1_Enabled">
    <vt:lpwstr>true</vt:lpwstr>
  </property>
  <property fmtid="{D5CDD505-2E9C-101B-9397-08002B2CF9AE}" pid="5" name="MSIP_Label_e6120bfe-1399-4a1b-84d8-7ade526126b1_SetDate">
    <vt:lpwstr>2023-03-21T13:23:53Z</vt:lpwstr>
  </property>
  <property fmtid="{D5CDD505-2E9C-101B-9397-08002B2CF9AE}" pid="6" name="MSIP_Label_e6120bfe-1399-4a1b-84d8-7ade526126b1_Method">
    <vt:lpwstr>Standard</vt:lpwstr>
  </property>
  <property fmtid="{D5CDD505-2E9C-101B-9397-08002B2CF9AE}" pid="7" name="MSIP_Label_e6120bfe-1399-4a1b-84d8-7ade526126b1_Name">
    <vt:lpwstr>Test label</vt:lpwstr>
  </property>
  <property fmtid="{D5CDD505-2E9C-101B-9397-08002B2CF9AE}" pid="8" name="MSIP_Label_e6120bfe-1399-4a1b-84d8-7ade526126b1_SiteId">
    <vt:lpwstr>cee7cfaf-9907-44c0-8c93-2c31e30d594f</vt:lpwstr>
  </property>
  <property fmtid="{D5CDD505-2E9C-101B-9397-08002B2CF9AE}" pid="9" name="MSIP_Label_e6120bfe-1399-4a1b-84d8-7ade526126b1_ActionId">
    <vt:lpwstr>fb6dc642-99d7-4ec6-9828-00002366e4a6</vt:lpwstr>
  </property>
  <property fmtid="{D5CDD505-2E9C-101B-9397-08002B2CF9AE}" pid="10" name="MSIP_Label_e6120bfe-1399-4a1b-84d8-7ade526126b1_ContentBits">
    <vt:lpwstr>0</vt:lpwstr>
  </property>
</Properties>
</file>